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3800" r:id="rId1"/>
  </p:sldMasterIdLst>
  <p:notesMasterIdLst>
    <p:notesMasterId r:id="rId7"/>
  </p:notesMasterIdLst>
  <p:handoutMasterIdLst>
    <p:handoutMasterId r:id="rId8"/>
  </p:handoutMasterIdLst>
  <p:sldIdLst>
    <p:sldId id="271" r:id="rId2"/>
    <p:sldId id="291" r:id="rId3"/>
    <p:sldId id="290" r:id="rId4"/>
    <p:sldId id="293" r:id="rId5"/>
    <p:sldId id="294" r:id="rId6"/>
  </p:sldIdLst>
  <p:sldSz cx="12192000" cy="6858000"/>
  <p:notesSz cx="7023100" cy="93091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A3E0"/>
    <a:srgbClr val="FF530D"/>
    <a:srgbClr val="2B3A42"/>
    <a:srgbClr val="FE8A12"/>
    <a:srgbClr val="3F5765"/>
    <a:srgbClr val="0272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204" autoAdjust="0"/>
    <p:restoredTop sz="93163" autoAdjust="0"/>
  </p:normalViewPr>
  <p:slideViewPr>
    <p:cSldViewPr>
      <p:cViewPr varScale="1">
        <p:scale>
          <a:sx n="80" d="100"/>
          <a:sy n="80" d="100"/>
        </p:scale>
        <p:origin x="48" y="1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42"/>
    </p:cViewPr>
  </p:sorterViewPr>
  <p:notesViewPr>
    <p:cSldViewPr>
      <p:cViewPr varScale="1">
        <p:scale>
          <a:sx n="62" d="100"/>
          <a:sy n="62" d="100"/>
        </p:scale>
        <p:origin x="3120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94675" y="279801"/>
            <a:ext cx="3848659" cy="367959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4675" y="669140"/>
            <a:ext cx="3848659" cy="156667"/>
          </a:xfrm>
          <a:prstGeom prst="rect">
            <a:avLst/>
          </a:prstGeom>
        </p:spPr>
        <p:txBody>
          <a:bodyPr vert="horz" lIns="93324" tIns="0" rIns="93324" bIns="0" rtlCol="0">
            <a:noAutofit/>
          </a:bodyPr>
          <a:lstStyle>
            <a:lvl1pPr algn="r">
              <a:defRPr sz="1200"/>
            </a:lvl1pPr>
          </a:lstStyle>
          <a:p>
            <a:pPr algn="l"/>
            <a:fld id="{E7A8D578-5E90-413C-9512-130603CF2639}" type="datetimeFigureOut">
              <a:rPr lang="en-US" sz="1000"/>
              <a:pPr algn="l"/>
              <a:t>12/25/2018</a:t>
            </a:fld>
            <a:endParaRPr lang="en-US" sz="10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94675" y="8780243"/>
            <a:ext cx="2893517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 sz="1000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299171" y="8780243"/>
            <a:ext cx="1221955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6D32B792-199B-4EBF-B605-6F6C876EB442}" type="slidenum">
              <a:rPr lang="en-US" sz="1000"/>
              <a:t>‹#›</a:t>
            </a:fld>
            <a:endParaRPr lang="en-US" sz="1000"/>
          </a:p>
        </p:txBody>
      </p:sp>
      <p:grpSp>
        <p:nvGrpSpPr>
          <p:cNvPr id="13" name="Group 12"/>
          <p:cNvGrpSpPr/>
          <p:nvPr/>
        </p:nvGrpSpPr>
        <p:grpSpPr>
          <a:xfrm>
            <a:off x="5225906" y="285481"/>
            <a:ext cx="1328988" cy="362143"/>
            <a:chOff x="6113463" y="-755650"/>
            <a:chExt cx="7013575" cy="1922462"/>
          </a:xfrm>
        </p:grpSpPr>
        <p:sp>
          <p:nvSpPr>
            <p:cNvPr id="14" name="Freeform 13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5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1150287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99926" y="329698"/>
            <a:ext cx="3783110" cy="418910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9928" y="820413"/>
            <a:ext cx="3043343" cy="251346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29C70E8E-131E-4657-A195-2844EFBAE789}" type="datetimeFigureOut">
              <a:rPr lang="en-US" smtClean="0"/>
              <a:pPr/>
              <a:t>12/25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11600" y="7061200"/>
            <a:ext cx="2687638" cy="15128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396415" y="1314911"/>
            <a:ext cx="6230270" cy="5259642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806331" y="8780243"/>
            <a:ext cx="927049" cy="251346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CA61E296-9532-40C3-9174-581AD2B7748B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5" name="Group 14"/>
          <p:cNvGrpSpPr/>
          <p:nvPr/>
        </p:nvGrpSpPr>
        <p:grpSpPr>
          <a:xfrm>
            <a:off x="5325790" y="285481"/>
            <a:ext cx="1328988" cy="362143"/>
            <a:chOff x="6113463" y="-755650"/>
            <a:chExt cx="7013575" cy="1922462"/>
          </a:xfrm>
        </p:grpSpPr>
        <p:sp>
          <p:nvSpPr>
            <p:cNvPr id="16" name="Freeform 15"/>
            <p:cNvSpPr>
              <a:spLocks noEditPoints="1"/>
            </p:cNvSpPr>
            <p:nvPr userDrawn="1"/>
          </p:nvSpPr>
          <p:spPr bwMode="auto">
            <a:xfrm>
              <a:off x="8504238" y="-80963"/>
              <a:ext cx="1154113" cy="1247775"/>
            </a:xfrm>
            <a:custGeom>
              <a:avLst/>
              <a:gdLst>
                <a:gd name="T0" fmla="*/ 213 w 307"/>
                <a:gd name="T1" fmla="*/ 252 h 331"/>
                <a:gd name="T2" fmla="*/ 200 w 307"/>
                <a:gd name="T3" fmla="*/ 228 h 331"/>
                <a:gd name="T4" fmla="*/ 176 w 307"/>
                <a:gd name="T5" fmla="*/ 220 h 331"/>
                <a:gd name="T6" fmla="*/ 169 w 307"/>
                <a:gd name="T7" fmla="*/ 244 h 331"/>
                <a:gd name="T8" fmla="*/ 180 w 307"/>
                <a:gd name="T9" fmla="*/ 266 h 331"/>
                <a:gd name="T10" fmla="*/ 180 w 307"/>
                <a:gd name="T11" fmla="*/ 266 h 331"/>
                <a:gd name="T12" fmla="*/ 160 w 307"/>
                <a:gd name="T13" fmla="*/ 268 h 331"/>
                <a:gd name="T14" fmla="*/ 40 w 307"/>
                <a:gd name="T15" fmla="*/ 160 h 331"/>
                <a:gd name="T16" fmla="*/ 148 w 307"/>
                <a:gd name="T17" fmla="*/ 39 h 331"/>
                <a:gd name="T18" fmla="*/ 269 w 307"/>
                <a:gd name="T19" fmla="*/ 148 h 331"/>
                <a:gd name="T20" fmla="*/ 213 w 307"/>
                <a:gd name="T21" fmla="*/ 252 h 331"/>
                <a:gd name="T22" fmla="*/ 146 w 307"/>
                <a:gd name="T23" fmla="*/ 4 h 331"/>
                <a:gd name="T24" fmla="*/ 4 w 307"/>
                <a:gd name="T25" fmla="*/ 162 h 331"/>
                <a:gd name="T26" fmla="*/ 162 w 307"/>
                <a:gd name="T27" fmla="*/ 304 h 331"/>
                <a:gd name="T28" fmla="*/ 197 w 307"/>
                <a:gd name="T29" fmla="*/ 298 h 331"/>
                <a:gd name="T30" fmla="*/ 197 w 307"/>
                <a:gd name="T31" fmla="*/ 298 h 331"/>
                <a:gd name="T32" fmla="*/ 208 w 307"/>
                <a:gd name="T33" fmla="*/ 319 h 331"/>
                <a:gd name="T34" fmla="*/ 232 w 307"/>
                <a:gd name="T35" fmla="*/ 327 h 331"/>
                <a:gd name="T36" fmla="*/ 240 w 307"/>
                <a:gd name="T37" fmla="*/ 303 h 331"/>
                <a:gd name="T38" fmla="*/ 230 w 307"/>
                <a:gd name="T39" fmla="*/ 284 h 331"/>
                <a:gd name="T40" fmla="*/ 304 w 307"/>
                <a:gd name="T41" fmla="*/ 146 h 331"/>
                <a:gd name="T42" fmla="*/ 146 w 307"/>
                <a:gd name="T43" fmla="*/ 4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07" h="331">
                  <a:moveTo>
                    <a:pt x="213" y="252"/>
                  </a:moveTo>
                  <a:cubicBezTo>
                    <a:pt x="200" y="228"/>
                    <a:pt x="200" y="228"/>
                    <a:pt x="200" y="228"/>
                  </a:cubicBezTo>
                  <a:cubicBezTo>
                    <a:pt x="196" y="219"/>
                    <a:pt x="185" y="216"/>
                    <a:pt x="176" y="220"/>
                  </a:cubicBezTo>
                  <a:cubicBezTo>
                    <a:pt x="168" y="225"/>
                    <a:pt x="164" y="236"/>
                    <a:pt x="169" y="244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80" y="266"/>
                    <a:pt x="180" y="266"/>
                    <a:pt x="180" y="266"/>
                  </a:cubicBezTo>
                  <a:cubicBezTo>
                    <a:pt x="174" y="267"/>
                    <a:pt x="167" y="268"/>
                    <a:pt x="160" y="268"/>
                  </a:cubicBezTo>
                  <a:cubicBezTo>
                    <a:pt x="97" y="272"/>
                    <a:pt x="43" y="223"/>
                    <a:pt x="40" y="160"/>
                  </a:cubicBezTo>
                  <a:cubicBezTo>
                    <a:pt x="36" y="97"/>
                    <a:pt x="85" y="43"/>
                    <a:pt x="148" y="39"/>
                  </a:cubicBezTo>
                  <a:cubicBezTo>
                    <a:pt x="211" y="36"/>
                    <a:pt x="265" y="85"/>
                    <a:pt x="269" y="148"/>
                  </a:cubicBezTo>
                  <a:cubicBezTo>
                    <a:pt x="271" y="192"/>
                    <a:pt x="248" y="231"/>
                    <a:pt x="213" y="252"/>
                  </a:cubicBezTo>
                  <a:close/>
                  <a:moveTo>
                    <a:pt x="146" y="4"/>
                  </a:moveTo>
                  <a:cubicBezTo>
                    <a:pt x="64" y="8"/>
                    <a:pt x="0" y="79"/>
                    <a:pt x="4" y="162"/>
                  </a:cubicBezTo>
                  <a:cubicBezTo>
                    <a:pt x="9" y="244"/>
                    <a:pt x="79" y="308"/>
                    <a:pt x="162" y="304"/>
                  </a:cubicBezTo>
                  <a:cubicBezTo>
                    <a:pt x="174" y="303"/>
                    <a:pt x="186" y="301"/>
                    <a:pt x="197" y="298"/>
                  </a:cubicBezTo>
                  <a:cubicBezTo>
                    <a:pt x="197" y="298"/>
                    <a:pt x="197" y="298"/>
                    <a:pt x="197" y="298"/>
                  </a:cubicBezTo>
                  <a:cubicBezTo>
                    <a:pt x="208" y="319"/>
                    <a:pt x="208" y="319"/>
                    <a:pt x="208" y="319"/>
                  </a:cubicBezTo>
                  <a:cubicBezTo>
                    <a:pt x="213" y="328"/>
                    <a:pt x="223" y="331"/>
                    <a:pt x="232" y="327"/>
                  </a:cubicBezTo>
                  <a:cubicBezTo>
                    <a:pt x="241" y="322"/>
                    <a:pt x="244" y="311"/>
                    <a:pt x="240" y="303"/>
                  </a:cubicBezTo>
                  <a:cubicBezTo>
                    <a:pt x="230" y="284"/>
                    <a:pt x="230" y="284"/>
                    <a:pt x="230" y="284"/>
                  </a:cubicBezTo>
                  <a:cubicBezTo>
                    <a:pt x="277" y="256"/>
                    <a:pt x="307" y="204"/>
                    <a:pt x="304" y="146"/>
                  </a:cubicBezTo>
                  <a:cubicBezTo>
                    <a:pt x="300" y="63"/>
                    <a:pt x="229" y="0"/>
                    <a:pt x="146" y="4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 userDrawn="1"/>
          </p:nvSpPr>
          <p:spPr bwMode="auto">
            <a:xfrm>
              <a:off x="8121651" y="-61913"/>
              <a:ext cx="134938" cy="1123950"/>
            </a:xfrm>
            <a:custGeom>
              <a:avLst/>
              <a:gdLst>
                <a:gd name="T0" fmla="*/ 18 w 36"/>
                <a:gd name="T1" fmla="*/ 298 h 298"/>
                <a:gd name="T2" fmla="*/ 0 w 36"/>
                <a:gd name="T3" fmla="*/ 280 h 298"/>
                <a:gd name="T4" fmla="*/ 0 w 36"/>
                <a:gd name="T5" fmla="*/ 17 h 298"/>
                <a:gd name="T6" fmla="*/ 18 w 36"/>
                <a:gd name="T7" fmla="*/ 0 h 298"/>
                <a:gd name="T8" fmla="*/ 36 w 36"/>
                <a:gd name="T9" fmla="*/ 17 h 298"/>
                <a:gd name="T10" fmla="*/ 36 w 36"/>
                <a:gd name="T11" fmla="*/ 280 h 298"/>
                <a:gd name="T12" fmla="*/ 18 w 36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298">
                  <a:moveTo>
                    <a:pt x="18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28" y="0"/>
                    <a:pt x="36" y="8"/>
                    <a:pt x="36" y="17"/>
                  </a:cubicBezTo>
                  <a:cubicBezTo>
                    <a:pt x="36" y="280"/>
                    <a:pt x="36" y="280"/>
                    <a:pt x="36" y="280"/>
                  </a:cubicBezTo>
                  <a:cubicBezTo>
                    <a:pt x="36" y="290"/>
                    <a:pt x="28" y="298"/>
                    <a:pt x="18" y="29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7"/>
            <p:cNvSpPr>
              <a:spLocks/>
            </p:cNvSpPr>
            <p:nvPr userDrawn="1"/>
          </p:nvSpPr>
          <p:spPr bwMode="auto">
            <a:xfrm>
              <a:off x="11283951" y="-61913"/>
              <a:ext cx="131763" cy="1123950"/>
            </a:xfrm>
            <a:custGeom>
              <a:avLst/>
              <a:gdLst>
                <a:gd name="T0" fmla="*/ 17 w 35"/>
                <a:gd name="T1" fmla="*/ 298 h 298"/>
                <a:gd name="T2" fmla="*/ 0 w 35"/>
                <a:gd name="T3" fmla="*/ 280 h 298"/>
                <a:gd name="T4" fmla="*/ 0 w 35"/>
                <a:gd name="T5" fmla="*/ 17 h 298"/>
                <a:gd name="T6" fmla="*/ 17 w 35"/>
                <a:gd name="T7" fmla="*/ 0 h 298"/>
                <a:gd name="T8" fmla="*/ 35 w 35"/>
                <a:gd name="T9" fmla="*/ 17 h 298"/>
                <a:gd name="T10" fmla="*/ 35 w 35"/>
                <a:gd name="T11" fmla="*/ 280 h 298"/>
                <a:gd name="T12" fmla="*/ 17 w 35"/>
                <a:gd name="T13" fmla="*/ 298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298">
                  <a:moveTo>
                    <a:pt x="17" y="298"/>
                  </a:moveTo>
                  <a:cubicBezTo>
                    <a:pt x="8" y="298"/>
                    <a:pt x="0" y="290"/>
                    <a:pt x="0" y="280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7" y="0"/>
                    <a:pt x="35" y="8"/>
                    <a:pt x="35" y="17"/>
                  </a:cubicBezTo>
                  <a:cubicBezTo>
                    <a:pt x="35" y="280"/>
                    <a:pt x="35" y="280"/>
                    <a:pt x="35" y="280"/>
                  </a:cubicBezTo>
                  <a:cubicBezTo>
                    <a:pt x="35" y="290"/>
                    <a:pt x="27" y="298"/>
                    <a:pt x="17" y="29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8"/>
            <p:cNvSpPr>
              <a:spLocks/>
            </p:cNvSpPr>
            <p:nvPr userDrawn="1"/>
          </p:nvSpPr>
          <p:spPr bwMode="auto">
            <a:xfrm>
              <a:off x="9807576" y="-73025"/>
              <a:ext cx="1198563" cy="1135063"/>
            </a:xfrm>
            <a:custGeom>
              <a:avLst/>
              <a:gdLst>
                <a:gd name="T0" fmla="*/ 158 w 319"/>
                <a:gd name="T1" fmla="*/ 301 h 301"/>
                <a:gd name="T2" fmla="*/ 158 w 319"/>
                <a:gd name="T3" fmla="*/ 301 h 301"/>
                <a:gd name="T4" fmla="*/ 142 w 319"/>
                <a:gd name="T5" fmla="*/ 292 h 301"/>
                <a:gd name="T6" fmla="*/ 5 w 319"/>
                <a:gd name="T7" fmla="*/ 29 h 301"/>
                <a:gd name="T8" fmla="*/ 12 w 319"/>
                <a:gd name="T9" fmla="*/ 5 h 301"/>
                <a:gd name="T10" fmla="*/ 36 w 319"/>
                <a:gd name="T11" fmla="*/ 12 h 301"/>
                <a:gd name="T12" fmla="*/ 158 w 319"/>
                <a:gd name="T13" fmla="*/ 245 h 301"/>
                <a:gd name="T14" fmla="*/ 283 w 319"/>
                <a:gd name="T15" fmla="*/ 12 h 301"/>
                <a:gd name="T16" fmla="*/ 307 w 319"/>
                <a:gd name="T17" fmla="*/ 5 h 301"/>
                <a:gd name="T18" fmla="*/ 314 w 319"/>
                <a:gd name="T19" fmla="*/ 29 h 301"/>
                <a:gd name="T20" fmla="*/ 174 w 319"/>
                <a:gd name="T21" fmla="*/ 292 h 301"/>
                <a:gd name="T22" fmla="*/ 158 w 319"/>
                <a:gd name="T23" fmla="*/ 301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9" h="301">
                  <a:moveTo>
                    <a:pt x="158" y="301"/>
                  </a:moveTo>
                  <a:cubicBezTo>
                    <a:pt x="158" y="301"/>
                    <a:pt x="158" y="301"/>
                    <a:pt x="158" y="301"/>
                  </a:cubicBezTo>
                  <a:cubicBezTo>
                    <a:pt x="151" y="301"/>
                    <a:pt x="145" y="297"/>
                    <a:pt x="142" y="292"/>
                  </a:cubicBezTo>
                  <a:cubicBezTo>
                    <a:pt x="5" y="29"/>
                    <a:pt x="5" y="29"/>
                    <a:pt x="5" y="29"/>
                  </a:cubicBezTo>
                  <a:cubicBezTo>
                    <a:pt x="0" y="20"/>
                    <a:pt x="3" y="9"/>
                    <a:pt x="12" y="5"/>
                  </a:cubicBezTo>
                  <a:cubicBezTo>
                    <a:pt x="21" y="0"/>
                    <a:pt x="31" y="4"/>
                    <a:pt x="36" y="12"/>
                  </a:cubicBezTo>
                  <a:cubicBezTo>
                    <a:pt x="158" y="245"/>
                    <a:pt x="158" y="245"/>
                    <a:pt x="158" y="245"/>
                  </a:cubicBezTo>
                  <a:cubicBezTo>
                    <a:pt x="283" y="12"/>
                    <a:pt x="283" y="12"/>
                    <a:pt x="283" y="12"/>
                  </a:cubicBezTo>
                  <a:cubicBezTo>
                    <a:pt x="287" y="3"/>
                    <a:pt x="298" y="0"/>
                    <a:pt x="307" y="5"/>
                  </a:cubicBezTo>
                  <a:cubicBezTo>
                    <a:pt x="315" y="9"/>
                    <a:pt x="319" y="20"/>
                    <a:pt x="314" y="29"/>
                  </a:cubicBezTo>
                  <a:cubicBezTo>
                    <a:pt x="174" y="292"/>
                    <a:pt x="174" y="292"/>
                    <a:pt x="174" y="292"/>
                  </a:cubicBezTo>
                  <a:cubicBezTo>
                    <a:pt x="171" y="298"/>
                    <a:pt x="165" y="301"/>
                    <a:pt x="158" y="30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9"/>
            <p:cNvSpPr>
              <a:spLocks/>
            </p:cNvSpPr>
            <p:nvPr userDrawn="1"/>
          </p:nvSpPr>
          <p:spPr bwMode="auto">
            <a:xfrm>
              <a:off x="12125326" y="703263"/>
              <a:ext cx="454025" cy="131763"/>
            </a:xfrm>
            <a:custGeom>
              <a:avLst/>
              <a:gdLst>
                <a:gd name="T0" fmla="*/ 103 w 121"/>
                <a:gd name="T1" fmla="*/ 35 h 35"/>
                <a:gd name="T2" fmla="*/ 18 w 121"/>
                <a:gd name="T3" fmla="*/ 35 h 35"/>
                <a:gd name="T4" fmla="*/ 0 w 121"/>
                <a:gd name="T5" fmla="*/ 18 h 35"/>
                <a:gd name="T6" fmla="*/ 18 w 121"/>
                <a:gd name="T7" fmla="*/ 0 h 35"/>
                <a:gd name="T8" fmla="*/ 103 w 121"/>
                <a:gd name="T9" fmla="*/ 0 h 35"/>
                <a:gd name="T10" fmla="*/ 121 w 121"/>
                <a:gd name="T11" fmla="*/ 18 h 35"/>
                <a:gd name="T12" fmla="*/ 103 w 121"/>
                <a:gd name="T13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1" h="35">
                  <a:moveTo>
                    <a:pt x="103" y="35"/>
                  </a:moveTo>
                  <a:cubicBezTo>
                    <a:pt x="18" y="35"/>
                    <a:pt x="18" y="35"/>
                    <a:pt x="18" y="35"/>
                  </a:cubicBezTo>
                  <a:cubicBezTo>
                    <a:pt x="8" y="35"/>
                    <a:pt x="0" y="28"/>
                    <a:pt x="0" y="18"/>
                  </a:cubicBezTo>
                  <a:cubicBezTo>
                    <a:pt x="0" y="8"/>
                    <a:pt x="8" y="0"/>
                    <a:pt x="18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13" y="0"/>
                    <a:pt x="121" y="8"/>
                    <a:pt x="121" y="18"/>
                  </a:cubicBezTo>
                  <a:cubicBezTo>
                    <a:pt x="121" y="28"/>
                    <a:pt x="113" y="35"/>
                    <a:pt x="103" y="3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20"/>
            <p:cNvSpPr>
              <a:spLocks/>
            </p:cNvSpPr>
            <p:nvPr userDrawn="1"/>
          </p:nvSpPr>
          <p:spPr bwMode="auto">
            <a:xfrm>
              <a:off x="11753851" y="-66675"/>
              <a:ext cx="1193800" cy="1139825"/>
            </a:xfrm>
            <a:custGeom>
              <a:avLst/>
              <a:gdLst>
                <a:gd name="T0" fmla="*/ 298 w 318"/>
                <a:gd name="T1" fmla="*/ 299 h 302"/>
                <a:gd name="T2" fmla="*/ 282 w 318"/>
                <a:gd name="T3" fmla="*/ 290 h 302"/>
                <a:gd name="T4" fmla="*/ 160 w 318"/>
                <a:gd name="T5" fmla="*/ 56 h 302"/>
                <a:gd name="T6" fmla="*/ 36 w 318"/>
                <a:gd name="T7" fmla="*/ 290 h 302"/>
                <a:gd name="T8" fmla="*/ 12 w 318"/>
                <a:gd name="T9" fmla="*/ 297 h 302"/>
                <a:gd name="T10" fmla="*/ 4 w 318"/>
                <a:gd name="T11" fmla="*/ 273 h 302"/>
                <a:gd name="T12" fmla="*/ 145 w 318"/>
                <a:gd name="T13" fmla="*/ 10 h 302"/>
                <a:gd name="T14" fmla="*/ 160 w 318"/>
                <a:gd name="T15" fmla="*/ 1 h 302"/>
                <a:gd name="T16" fmla="*/ 176 w 318"/>
                <a:gd name="T17" fmla="*/ 10 h 302"/>
                <a:gd name="T18" fmla="*/ 314 w 318"/>
                <a:gd name="T19" fmla="*/ 273 h 302"/>
                <a:gd name="T20" fmla="*/ 306 w 318"/>
                <a:gd name="T21" fmla="*/ 297 h 302"/>
                <a:gd name="T22" fmla="*/ 298 w 318"/>
                <a:gd name="T23" fmla="*/ 299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8" h="302">
                  <a:moveTo>
                    <a:pt x="298" y="299"/>
                  </a:moveTo>
                  <a:cubicBezTo>
                    <a:pt x="292" y="299"/>
                    <a:pt x="286" y="296"/>
                    <a:pt x="282" y="290"/>
                  </a:cubicBezTo>
                  <a:cubicBezTo>
                    <a:pt x="160" y="56"/>
                    <a:pt x="160" y="56"/>
                    <a:pt x="160" y="56"/>
                  </a:cubicBezTo>
                  <a:cubicBezTo>
                    <a:pt x="36" y="290"/>
                    <a:pt x="36" y="290"/>
                    <a:pt x="36" y="290"/>
                  </a:cubicBezTo>
                  <a:cubicBezTo>
                    <a:pt x="31" y="298"/>
                    <a:pt x="20" y="302"/>
                    <a:pt x="12" y="297"/>
                  </a:cubicBezTo>
                  <a:cubicBezTo>
                    <a:pt x="3" y="292"/>
                    <a:pt x="0" y="282"/>
                    <a:pt x="4" y="273"/>
                  </a:cubicBezTo>
                  <a:cubicBezTo>
                    <a:pt x="145" y="10"/>
                    <a:pt x="145" y="10"/>
                    <a:pt x="145" y="10"/>
                  </a:cubicBezTo>
                  <a:cubicBezTo>
                    <a:pt x="148" y="4"/>
                    <a:pt x="154" y="0"/>
                    <a:pt x="160" y="1"/>
                  </a:cubicBezTo>
                  <a:cubicBezTo>
                    <a:pt x="167" y="1"/>
                    <a:pt x="173" y="4"/>
                    <a:pt x="176" y="10"/>
                  </a:cubicBezTo>
                  <a:cubicBezTo>
                    <a:pt x="314" y="273"/>
                    <a:pt x="314" y="273"/>
                    <a:pt x="314" y="273"/>
                  </a:cubicBezTo>
                  <a:cubicBezTo>
                    <a:pt x="318" y="282"/>
                    <a:pt x="315" y="293"/>
                    <a:pt x="306" y="297"/>
                  </a:cubicBezTo>
                  <a:cubicBezTo>
                    <a:pt x="304" y="298"/>
                    <a:pt x="301" y="299"/>
                    <a:pt x="298" y="29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21"/>
            <p:cNvSpPr>
              <a:spLocks/>
            </p:cNvSpPr>
            <p:nvPr userDrawn="1"/>
          </p:nvSpPr>
          <p:spPr bwMode="auto">
            <a:xfrm>
              <a:off x="12807951" y="-61913"/>
              <a:ext cx="128588" cy="161925"/>
            </a:xfrm>
            <a:custGeom>
              <a:avLst/>
              <a:gdLst>
                <a:gd name="T0" fmla="*/ 48 w 81"/>
                <a:gd name="T1" fmla="*/ 102 h 102"/>
                <a:gd name="T2" fmla="*/ 33 w 81"/>
                <a:gd name="T3" fmla="*/ 102 h 102"/>
                <a:gd name="T4" fmla="*/ 33 w 81"/>
                <a:gd name="T5" fmla="*/ 12 h 102"/>
                <a:gd name="T6" fmla="*/ 0 w 81"/>
                <a:gd name="T7" fmla="*/ 12 h 102"/>
                <a:gd name="T8" fmla="*/ 0 w 81"/>
                <a:gd name="T9" fmla="*/ 0 h 102"/>
                <a:gd name="T10" fmla="*/ 81 w 81"/>
                <a:gd name="T11" fmla="*/ 0 h 102"/>
                <a:gd name="T12" fmla="*/ 81 w 81"/>
                <a:gd name="T13" fmla="*/ 12 h 102"/>
                <a:gd name="T14" fmla="*/ 48 w 81"/>
                <a:gd name="T15" fmla="*/ 12 h 102"/>
                <a:gd name="T16" fmla="*/ 48 w 81"/>
                <a:gd name="T17" fmla="*/ 102 h 102"/>
                <a:gd name="T18" fmla="*/ 48 w 81"/>
                <a:gd name="T19" fmla="*/ 10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102">
                  <a:moveTo>
                    <a:pt x="48" y="102"/>
                  </a:moveTo>
                  <a:lnTo>
                    <a:pt x="33" y="102"/>
                  </a:lnTo>
                  <a:lnTo>
                    <a:pt x="33" y="12"/>
                  </a:lnTo>
                  <a:lnTo>
                    <a:pt x="0" y="12"/>
                  </a:lnTo>
                  <a:lnTo>
                    <a:pt x="0" y="0"/>
                  </a:lnTo>
                  <a:lnTo>
                    <a:pt x="81" y="0"/>
                  </a:lnTo>
                  <a:lnTo>
                    <a:pt x="81" y="12"/>
                  </a:lnTo>
                  <a:lnTo>
                    <a:pt x="48" y="12"/>
                  </a:lnTo>
                  <a:lnTo>
                    <a:pt x="48" y="102"/>
                  </a:lnTo>
                  <a:lnTo>
                    <a:pt x="48" y="102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2"/>
            <p:cNvSpPr>
              <a:spLocks/>
            </p:cNvSpPr>
            <p:nvPr userDrawn="1"/>
          </p:nvSpPr>
          <p:spPr bwMode="auto">
            <a:xfrm>
              <a:off x="12958763" y="-61913"/>
              <a:ext cx="168275" cy="161925"/>
            </a:xfrm>
            <a:custGeom>
              <a:avLst/>
              <a:gdLst>
                <a:gd name="T0" fmla="*/ 54 w 106"/>
                <a:gd name="T1" fmla="*/ 78 h 102"/>
                <a:gd name="T2" fmla="*/ 54 w 106"/>
                <a:gd name="T3" fmla="*/ 78 h 102"/>
                <a:gd name="T4" fmla="*/ 85 w 106"/>
                <a:gd name="T5" fmla="*/ 0 h 102"/>
                <a:gd name="T6" fmla="*/ 106 w 106"/>
                <a:gd name="T7" fmla="*/ 0 h 102"/>
                <a:gd name="T8" fmla="*/ 106 w 106"/>
                <a:gd name="T9" fmla="*/ 102 h 102"/>
                <a:gd name="T10" fmla="*/ 92 w 106"/>
                <a:gd name="T11" fmla="*/ 102 h 102"/>
                <a:gd name="T12" fmla="*/ 92 w 106"/>
                <a:gd name="T13" fmla="*/ 16 h 102"/>
                <a:gd name="T14" fmla="*/ 92 w 106"/>
                <a:gd name="T15" fmla="*/ 16 h 102"/>
                <a:gd name="T16" fmla="*/ 59 w 106"/>
                <a:gd name="T17" fmla="*/ 102 h 102"/>
                <a:gd name="T18" fmla="*/ 50 w 106"/>
                <a:gd name="T19" fmla="*/ 102 h 102"/>
                <a:gd name="T20" fmla="*/ 14 w 106"/>
                <a:gd name="T21" fmla="*/ 16 h 102"/>
                <a:gd name="T22" fmla="*/ 14 w 106"/>
                <a:gd name="T23" fmla="*/ 16 h 102"/>
                <a:gd name="T24" fmla="*/ 14 w 106"/>
                <a:gd name="T25" fmla="*/ 102 h 102"/>
                <a:gd name="T26" fmla="*/ 0 w 106"/>
                <a:gd name="T27" fmla="*/ 102 h 102"/>
                <a:gd name="T28" fmla="*/ 0 w 106"/>
                <a:gd name="T29" fmla="*/ 0 h 102"/>
                <a:gd name="T30" fmla="*/ 24 w 106"/>
                <a:gd name="T31" fmla="*/ 0 h 102"/>
                <a:gd name="T32" fmla="*/ 54 w 106"/>
                <a:gd name="T33" fmla="*/ 78 h 102"/>
                <a:gd name="T34" fmla="*/ 54 w 106"/>
                <a:gd name="T35" fmla="*/ 78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6" h="102">
                  <a:moveTo>
                    <a:pt x="54" y="78"/>
                  </a:moveTo>
                  <a:lnTo>
                    <a:pt x="54" y="78"/>
                  </a:lnTo>
                  <a:lnTo>
                    <a:pt x="85" y="0"/>
                  </a:lnTo>
                  <a:lnTo>
                    <a:pt x="106" y="0"/>
                  </a:lnTo>
                  <a:lnTo>
                    <a:pt x="106" y="102"/>
                  </a:lnTo>
                  <a:lnTo>
                    <a:pt x="92" y="102"/>
                  </a:lnTo>
                  <a:lnTo>
                    <a:pt x="92" y="16"/>
                  </a:lnTo>
                  <a:lnTo>
                    <a:pt x="92" y="16"/>
                  </a:lnTo>
                  <a:lnTo>
                    <a:pt x="59" y="102"/>
                  </a:lnTo>
                  <a:lnTo>
                    <a:pt x="50" y="102"/>
                  </a:lnTo>
                  <a:lnTo>
                    <a:pt x="14" y="16"/>
                  </a:lnTo>
                  <a:lnTo>
                    <a:pt x="14" y="16"/>
                  </a:lnTo>
                  <a:lnTo>
                    <a:pt x="14" y="102"/>
                  </a:lnTo>
                  <a:lnTo>
                    <a:pt x="0" y="102"/>
                  </a:lnTo>
                  <a:lnTo>
                    <a:pt x="0" y="0"/>
                  </a:lnTo>
                  <a:lnTo>
                    <a:pt x="24" y="0"/>
                  </a:lnTo>
                  <a:lnTo>
                    <a:pt x="54" y="78"/>
                  </a:lnTo>
                  <a:lnTo>
                    <a:pt x="54" y="78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3"/>
            <p:cNvSpPr>
              <a:spLocks/>
            </p:cNvSpPr>
            <p:nvPr userDrawn="1"/>
          </p:nvSpPr>
          <p:spPr bwMode="auto">
            <a:xfrm>
              <a:off x="7329488" y="876300"/>
              <a:ext cx="461963" cy="112713"/>
            </a:xfrm>
            <a:custGeom>
              <a:avLst/>
              <a:gdLst>
                <a:gd name="T0" fmla="*/ 108 w 123"/>
                <a:gd name="T1" fmla="*/ 0 h 30"/>
                <a:gd name="T2" fmla="*/ 21 w 123"/>
                <a:gd name="T3" fmla="*/ 0 h 30"/>
                <a:gd name="T4" fmla="*/ 0 w 123"/>
                <a:gd name="T5" fmla="*/ 30 h 30"/>
                <a:gd name="T6" fmla="*/ 108 w 123"/>
                <a:gd name="T7" fmla="*/ 30 h 30"/>
                <a:gd name="T8" fmla="*/ 123 w 123"/>
                <a:gd name="T9" fmla="*/ 15 h 30"/>
                <a:gd name="T10" fmla="*/ 123 w 123"/>
                <a:gd name="T11" fmla="*/ 15 h 30"/>
                <a:gd name="T12" fmla="*/ 108 w 123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3" h="30">
                  <a:moveTo>
                    <a:pt x="108" y="0"/>
                  </a:moveTo>
                  <a:cubicBezTo>
                    <a:pt x="21" y="0"/>
                    <a:pt x="21" y="0"/>
                    <a:pt x="21" y="0"/>
                  </a:cubicBezTo>
                  <a:cubicBezTo>
                    <a:pt x="15" y="11"/>
                    <a:pt x="8" y="21"/>
                    <a:pt x="0" y="30"/>
                  </a:cubicBezTo>
                  <a:cubicBezTo>
                    <a:pt x="108" y="30"/>
                    <a:pt x="108" y="30"/>
                    <a:pt x="108" y="30"/>
                  </a:cubicBezTo>
                  <a:cubicBezTo>
                    <a:pt x="117" y="30"/>
                    <a:pt x="123" y="23"/>
                    <a:pt x="123" y="15"/>
                  </a:cubicBezTo>
                  <a:cubicBezTo>
                    <a:pt x="123" y="15"/>
                    <a:pt x="123" y="15"/>
                    <a:pt x="123" y="15"/>
                  </a:cubicBezTo>
                  <a:cubicBezTo>
                    <a:pt x="123" y="7"/>
                    <a:pt x="117" y="0"/>
                    <a:pt x="108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"/>
            <p:cNvSpPr>
              <a:spLocks/>
            </p:cNvSpPr>
            <p:nvPr userDrawn="1"/>
          </p:nvSpPr>
          <p:spPr bwMode="auto">
            <a:xfrm>
              <a:off x="7458076" y="657225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8 w 89"/>
                <a:gd name="T3" fmla="*/ 0 h 30"/>
                <a:gd name="T4" fmla="*/ 0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74 w 89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8" y="0"/>
                    <a:pt x="8" y="0"/>
                    <a:pt x="8" y="0"/>
                  </a:cubicBezTo>
                  <a:cubicBezTo>
                    <a:pt x="6" y="11"/>
                    <a:pt x="3" y="21"/>
                    <a:pt x="0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5"/>
            <p:cNvSpPr>
              <a:spLocks/>
            </p:cNvSpPr>
            <p:nvPr userDrawn="1"/>
          </p:nvSpPr>
          <p:spPr bwMode="auto">
            <a:xfrm>
              <a:off x="7502526" y="442913"/>
              <a:ext cx="288925" cy="112713"/>
            </a:xfrm>
            <a:custGeom>
              <a:avLst/>
              <a:gdLst>
                <a:gd name="T0" fmla="*/ 62 w 77"/>
                <a:gd name="T1" fmla="*/ 0 h 30"/>
                <a:gd name="T2" fmla="*/ 0 w 77"/>
                <a:gd name="T3" fmla="*/ 0 h 30"/>
                <a:gd name="T4" fmla="*/ 0 w 77"/>
                <a:gd name="T5" fmla="*/ 14 h 30"/>
                <a:gd name="T6" fmla="*/ 0 w 77"/>
                <a:gd name="T7" fmla="*/ 30 h 30"/>
                <a:gd name="T8" fmla="*/ 62 w 77"/>
                <a:gd name="T9" fmla="*/ 30 h 30"/>
                <a:gd name="T10" fmla="*/ 77 w 77"/>
                <a:gd name="T11" fmla="*/ 15 h 30"/>
                <a:gd name="T12" fmla="*/ 62 w 77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7" h="30">
                  <a:moveTo>
                    <a:pt x="6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9"/>
                    <a:pt x="0" y="14"/>
                  </a:cubicBezTo>
                  <a:cubicBezTo>
                    <a:pt x="0" y="19"/>
                    <a:pt x="0" y="25"/>
                    <a:pt x="0" y="30"/>
                  </a:cubicBezTo>
                  <a:cubicBezTo>
                    <a:pt x="62" y="30"/>
                    <a:pt x="62" y="30"/>
                    <a:pt x="62" y="30"/>
                  </a:cubicBezTo>
                  <a:cubicBezTo>
                    <a:pt x="71" y="30"/>
                    <a:pt x="77" y="23"/>
                    <a:pt x="77" y="15"/>
                  </a:cubicBezTo>
                  <a:cubicBezTo>
                    <a:pt x="77" y="7"/>
                    <a:pt x="71" y="0"/>
                    <a:pt x="62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6"/>
            <p:cNvSpPr>
              <a:spLocks/>
            </p:cNvSpPr>
            <p:nvPr userDrawn="1"/>
          </p:nvSpPr>
          <p:spPr bwMode="auto">
            <a:xfrm>
              <a:off x="7458076" y="223838"/>
              <a:ext cx="333375" cy="114300"/>
            </a:xfrm>
            <a:custGeom>
              <a:avLst/>
              <a:gdLst>
                <a:gd name="T0" fmla="*/ 74 w 89"/>
                <a:gd name="T1" fmla="*/ 0 h 30"/>
                <a:gd name="T2" fmla="*/ 0 w 89"/>
                <a:gd name="T3" fmla="*/ 0 h 30"/>
                <a:gd name="T4" fmla="*/ 8 w 89"/>
                <a:gd name="T5" fmla="*/ 30 h 30"/>
                <a:gd name="T6" fmla="*/ 74 w 89"/>
                <a:gd name="T7" fmla="*/ 30 h 30"/>
                <a:gd name="T8" fmla="*/ 89 w 89"/>
                <a:gd name="T9" fmla="*/ 15 h 30"/>
                <a:gd name="T10" fmla="*/ 89 w 89"/>
                <a:gd name="T11" fmla="*/ 15 h 30"/>
                <a:gd name="T12" fmla="*/ 74 w 89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9" h="30">
                  <a:moveTo>
                    <a:pt x="7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4" y="10"/>
                    <a:pt x="6" y="20"/>
                    <a:pt x="8" y="30"/>
                  </a:cubicBezTo>
                  <a:cubicBezTo>
                    <a:pt x="74" y="30"/>
                    <a:pt x="74" y="30"/>
                    <a:pt x="74" y="30"/>
                  </a:cubicBezTo>
                  <a:cubicBezTo>
                    <a:pt x="83" y="30"/>
                    <a:pt x="89" y="24"/>
                    <a:pt x="89" y="15"/>
                  </a:cubicBezTo>
                  <a:cubicBezTo>
                    <a:pt x="89" y="15"/>
                    <a:pt x="89" y="15"/>
                    <a:pt x="89" y="15"/>
                  </a:cubicBezTo>
                  <a:cubicBezTo>
                    <a:pt x="89" y="7"/>
                    <a:pt x="83" y="0"/>
                    <a:pt x="74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7"/>
            <p:cNvSpPr>
              <a:spLocks/>
            </p:cNvSpPr>
            <p:nvPr userDrawn="1"/>
          </p:nvSpPr>
          <p:spPr bwMode="auto">
            <a:xfrm>
              <a:off x="7337426" y="9525"/>
              <a:ext cx="454025" cy="112713"/>
            </a:xfrm>
            <a:custGeom>
              <a:avLst/>
              <a:gdLst>
                <a:gd name="T0" fmla="*/ 106 w 121"/>
                <a:gd name="T1" fmla="*/ 0 h 30"/>
                <a:gd name="T2" fmla="*/ 0 w 121"/>
                <a:gd name="T3" fmla="*/ 0 h 30"/>
                <a:gd name="T4" fmla="*/ 20 w 121"/>
                <a:gd name="T5" fmla="*/ 30 h 30"/>
                <a:gd name="T6" fmla="*/ 106 w 121"/>
                <a:gd name="T7" fmla="*/ 30 h 30"/>
                <a:gd name="T8" fmla="*/ 121 w 121"/>
                <a:gd name="T9" fmla="*/ 15 h 30"/>
                <a:gd name="T10" fmla="*/ 106 w 121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1" h="30">
                  <a:moveTo>
                    <a:pt x="10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8" y="9"/>
                    <a:pt x="14" y="19"/>
                    <a:pt x="20" y="30"/>
                  </a:cubicBezTo>
                  <a:cubicBezTo>
                    <a:pt x="106" y="30"/>
                    <a:pt x="106" y="30"/>
                    <a:pt x="106" y="30"/>
                  </a:cubicBezTo>
                  <a:cubicBezTo>
                    <a:pt x="115" y="30"/>
                    <a:pt x="121" y="23"/>
                    <a:pt x="121" y="15"/>
                  </a:cubicBezTo>
                  <a:cubicBezTo>
                    <a:pt x="121" y="7"/>
                    <a:pt x="115" y="0"/>
                    <a:pt x="106" y="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8"/>
            <p:cNvSpPr>
              <a:spLocks/>
            </p:cNvSpPr>
            <p:nvPr userDrawn="1"/>
          </p:nvSpPr>
          <p:spPr bwMode="auto">
            <a:xfrm>
              <a:off x="6432551" y="876300"/>
              <a:ext cx="280988" cy="112713"/>
            </a:xfrm>
            <a:custGeom>
              <a:avLst/>
              <a:gdLst>
                <a:gd name="T0" fmla="*/ 60 w 75"/>
                <a:gd name="T1" fmla="*/ 15 h 30"/>
                <a:gd name="T2" fmla="*/ 60 w 75"/>
                <a:gd name="T3" fmla="*/ 15 h 30"/>
                <a:gd name="T4" fmla="*/ 75 w 75"/>
                <a:gd name="T5" fmla="*/ 0 h 30"/>
                <a:gd name="T6" fmla="*/ 15 w 75"/>
                <a:gd name="T7" fmla="*/ 0 h 30"/>
                <a:gd name="T8" fmla="*/ 0 w 75"/>
                <a:gd name="T9" fmla="*/ 15 h 30"/>
                <a:gd name="T10" fmla="*/ 0 w 75"/>
                <a:gd name="T11" fmla="*/ 15 h 30"/>
                <a:gd name="T12" fmla="*/ 15 w 75"/>
                <a:gd name="T13" fmla="*/ 30 h 30"/>
                <a:gd name="T14" fmla="*/ 75 w 75"/>
                <a:gd name="T15" fmla="*/ 30 h 30"/>
                <a:gd name="T16" fmla="*/ 60 w 75"/>
                <a:gd name="T17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15"/>
                    <a:pt x="60" y="15"/>
                    <a:pt x="60" y="15"/>
                  </a:cubicBezTo>
                  <a:cubicBezTo>
                    <a:pt x="60" y="7"/>
                    <a:pt x="67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3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9"/>
            <p:cNvSpPr>
              <a:spLocks/>
            </p:cNvSpPr>
            <p:nvPr userDrawn="1"/>
          </p:nvSpPr>
          <p:spPr bwMode="auto">
            <a:xfrm>
              <a:off x="6657976" y="876300"/>
              <a:ext cx="750888" cy="112713"/>
            </a:xfrm>
            <a:custGeom>
              <a:avLst/>
              <a:gdLst>
                <a:gd name="T0" fmla="*/ 200 w 200"/>
                <a:gd name="T1" fmla="*/ 0 h 30"/>
                <a:gd name="T2" fmla="*/ 15 w 200"/>
                <a:gd name="T3" fmla="*/ 0 h 30"/>
                <a:gd name="T4" fmla="*/ 0 w 200"/>
                <a:gd name="T5" fmla="*/ 15 h 30"/>
                <a:gd name="T6" fmla="*/ 0 w 200"/>
                <a:gd name="T7" fmla="*/ 15 h 30"/>
                <a:gd name="T8" fmla="*/ 15 w 200"/>
                <a:gd name="T9" fmla="*/ 30 h 30"/>
                <a:gd name="T10" fmla="*/ 179 w 200"/>
                <a:gd name="T11" fmla="*/ 30 h 30"/>
                <a:gd name="T12" fmla="*/ 200 w 20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0" h="30">
                  <a:moveTo>
                    <a:pt x="200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179" y="30"/>
                    <a:pt x="179" y="30"/>
                    <a:pt x="179" y="30"/>
                  </a:cubicBezTo>
                  <a:cubicBezTo>
                    <a:pt x="187" y="21"/>
                    <a:pt x="194" y="11"/>
                    <a:pt x="200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30"/>
            <p:cNvSpPr>
              <a:spLocks/>
            </p:cNvSpPr>
            <p:nvPr userDrawn="1"/>
          </p:nvSpPr>
          <p:spPr bwMode="auto">
            <a:xfrm>
              <a:off x="6273801" y="657225"/>
              <a:ext cx="282575" cy="114300"/>
            </a:xfrm>
            <a:custGeom>
              <a:avLst/>
              <a:gdLst>
                <a:gd name="T0" fmla="*/ 60 w 75"/>
                <a:gd name="T1" fmla="*/ 19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9"/>
                  </a:moveTo>
                  <a:cubicBezTo>
                    <a:pt x="58" y="9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6"/>
                    <a:pt x="60" y="19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31"/>
            <p:cNvSpPr>
              <a:spLocks/>
            </p:cNvSpPr>
            <p:nvPr userDrawn="1"/>
          </p:nvSpPr>
          <p:spPr bwMode="auto">
            <a:xfrm>
              <a:off x="6492876" y="657225"/>
              <a:ext cx="993775" cy="114300"/>
            </a:xfrm>
            <a:custGeom>
              <a:avLst/>
              <a:gdLst>
                <a:gd name="T0" fmla="*/ 265 w 265"/>
                <a:gd name="T1" fmla="*/ 0 h 30"/>
                <a:gd name="T2" fmla="*/ 16 w 265"/>
                <a:gd name="T3" fmla="*/ 0 h 30"/>
                <a:gd name="T4" fmla="*/ 2 w 265"/>
                <a:gd name="T5" fmla="*/ 19 h 30"/>
                <a:gd name="T6" fmla="*/ 17 w 265"/>
                <a:gd name="T7" fmla="*/ 30 h 30"/>
                <a:gd name="T8" fmla="*/ 257 w 265"/>
                <a:gd name="T9" fmla="*/ 30 h 30"/>
                <a:gd name="T10" fmla="*/ 265 w 26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5" h="30">
                  <a:moveTo>
                    <a:pt x="265" y="0"/>
                  </a:move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9"/>
                    <a:pt x="2" y="19"/>
                  </a:cubicBezTo>
                  <a:cubicBezTo>
                    <a:pt x="3" y="26"/>
                    <a:pt x="10" y="30"/>
                    <a:pt x="17" y="30"/>
                  </a:cubicBezTo>
                  <a:cubicBezTo>
                    <a:pt x="257" y="30"/>
                    <a:pt x="257" y="30"/>
                    <a:pt x="257" y="30"/>
                  </a:cubicBezTo>
                  <a:cubicBezTo>
                    <a:pt x="260" y="21"/>
                    <a:pt x="263" y="11"/>
                    <a:pt x="265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32"/>
            <p:cNvSpPr>
              <a:spLocks/>
            </p:cNvSpPr>
            <p:nvPr userDrawn="1"/>
          </p:nvSpPr>
          <p:spPr bwMode="auto">
            <a:xfrm>
              <a:off x="6113463" y="442913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5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8" y="8"/>
                    <a:pt x="66" y="0"/>
                    <a:pt x="75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2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33"/>
            <p:cNvSpPr>
              <a:spLocks/>
            </p:cNvSpPr>
            <p:nvPr userDrawn="1"/>
          </p:nvSpPr>
          <p:spPr bwMode="auto">
            <a:xfrm>
              <a:off x="6330951" y="442913"/>
              <a:ext cx="1171575" cy="112713"/>
            </a:xfrm>
            <a:custGeom>
              <a:avLst/>
              <a:gdLst>
                <a:gd name="T0" fmla="*/ 2 w 312"/>
                <a:gd name="T1" fmla="*/ 18 h 30"/>
                <a:gd name="T2" fmla="*/ 17 w 312"/>
                <a:gd name="T3" fmla="*/ 30 h 30"/>
                <a:gd name="T4" fmla="*/ 312 w 312"/>
                <a:gd name="T5" fmla="*/ 30 h 30"/>
                <a:gd name="T6" fmla="*/ 312 w 312"/>
                <a:gd name="T7" fmla="*/ 14 h 30"/>
                <a:gd name="T8" fmla="*/ 312 w 312"/>
                <a:gd name="T9" fmla="*/ 0 h 30"/>
                <a:gd name="T10" fmla="*/ 17 w 312"/>
                <a:gd name="T11" fmla="*/ 0 h 30"/>
                <a:gd name="T12" fmla="*/ 2 w 312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2" h="30">
                  <a:moveTo>
                    <a:pt x="2" y="18"/>
                  </a:moveTo>
                  <a:cubicBezTo>
                    <a:pt x="4" y="25"/>
                    <a:pt x="10" y="30"/>
                    <a:pt x="17" y="30"/>
                  </a:cubicBezTo>
                  <a:cubicBezTo>
                    <a:pt x="312" y="30"/>
                    <a:pt x="312" y="30"/>
                    <a:pt x="312" y="30"/>
                  </a:cubicBezTo>
                  <a:cubicBezTo>
                    <a:pt x="312" y="25"/>
                    <a:pt x="312" y="19"/>
                    <a:pt x="312" y="14"/>
                  </a:cubicBezTo>
                  <a:cubicBezTo>
                    <a:pt x="312" y="9"/>
                    <a:pt x="312" y="4"/>
                    <a:pt x="312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2" y="18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4"/>
            <p:cNvSpPr>
              <a:spLocks/>
            </p:cNvSpPr>
            <p:nvPr userDrawn="1"/>
          </p:nvSpPr>
          <p:spPr bwMode="auto">
            <a:xfrm>
              <a:off x="6191251" y="223838"/>
              <a:ext cx="282575" cy="114300"/>
            </a:xfrm>
            <a:custGeom>
              <a:avLst/>
              <a:gdLst>
                <a:gd name="T0" fmla="*/ 60 w 75"/>
                <a:gd name="T1" fmla="*/ 15 h 30"/>
                <a:gd name="T2" fmla="*/ 75 w 75"/>
                <a:gd name="T3" fmla="*/ 0 h 30"/>
                <a:gd name="T4" fmla="*/ 16 w 75"/>
                <a:gd name="T5" fmla="*/ 0 h 30"/>
                <a:gd name="T6" fmla="*/ 0 w 75"/>
                <a:gd name="T7" fmla="*/ 15 h 30"/>
                <a:gd name="T8" fmla="*/ 0 w 75"/>
                <a:gd name="T9" fmla="*/ 15 h 30"/>
                <a:gd name="T10" fmla="*/ 16 w 75"/>
                <a:gd name="T11" fmla="*/ 30 h 30"/>
                <a:gd name="T12" fmla="*/ 75 w 75"/>
                <a:gd name="T13" fmla="*/ 30 h 30"/>
                <a:gd name="T14" fmla="*/ 60 w 75"/>
                <a:gd name="T15" fmla="*/ 15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5" h="30">
                  <a:moveTo>
                    <a:pt x="60" y="15"/>
                  </a:moveTo>
                  <a:cubicBezTo>
                    <a:pt x="60" y="7"/>
                    <a:pt x="67" y="0"/>
                    <a:pt x="75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15"/>
                    <a:pt x="0" y="15"/>
                    <a:pt x="0" y="15"/>
                  </a:cubicBezTo>
                  <a:cubicBezTo>
                    <a:pt x="0" y="24"/>
                    <a:pt x="7" y="30"/>
                    <a:pt x="16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7" y="30"/>
                    <a:pt x="60" y="24"/>
                    <a:pt x="60" y="15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416676" y="223838"/>
              <a:ext cx="1069975" cy="114300"/>
            </a:xfrm>
            <a:custGeom>
              <a:avLst/>
              <a:gdLst>
                <a:gd name="T0" fmla="*/ 277 w 285"/>
                <a:gd name="T1" fmla="*/ 0 h 30"/>
                <a:gd name="T2" fmla="*/ 15 w 285"/>
                <a:gd name="T3" fmla="*/ 0 h 30"/>
                <a:gd name="T4" fmla="*/ 0 w 285"/>
                <a:gd name="T5" fmla="*/ 15 h 30"/>
                <a:gd name="T6" fmla="*/ 15 w 285"/>
                <a:gd name="T7" fmla="*/ 30 h 30"/>
                <a:gd name="T8" fmla="*/ 285 w 285"/>
                <a:gd name="T9" fmla="*/ 30 h 30"/>
                <a:gd name="T10" fmla="*/ 277 w 285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5" h="30">
                  <a:moveTo>
                    <a:pt x="277" y="0"/>
                  </a:move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4"/>
                    <a:pt x="7" y="30"/>
                    <a:pt x="15" y="30"/>
                  </a:cubicBezTo>
                  <a:cubicBezTo>
                    <a:pt x="285" y="30"/>
                    <a:pt x="285" y="30"/>
                    <a:pt x="285" y="30"/>
                  </a:cubicBezTo>
                  <a:cubicBezTo>
                    <a:pt x="283" y="20"/>
                    <a:pt x="281" y="10"/>
                    <a:pt x="277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605588" y="9525"/>
              <a:ext cx="280988" cy="112713"/>
            </a:xfrm>
            <a:custGeom>
              <a:avLst/>
              <a:gdLst>
                <a:gd name="T0" fmla="*/ 60 w 75"/>
                <a:gd name="T1" fmla="*/ 18 h 30"/>
                <a:gd name="T2" fmla="*/ 74 w 75"/>
                <a:gd name="T3" fmla="*/ 0 h 30"/>
                <a:gd name="T4" fmla="*/ 15 w 75"/>
                <a:gd name="T5" fmla="*/ 0 h 30"/>
                <a:gd name="T6" fmla="*/ 0 w 75"/>
                <a:gd name="T7" fmla="*/ 15 h 30"/>
                <a:gd name="T8" fmla="*/ 15 w 75"/>
                <a:gd name="T9" fmla="*/ 30 h 30"/>
                <a:gd name="T10" fmla="*/ 75 w 75"/>
                <a:gd name="T11" fmla="*/ 30 h 30"/>
                <a:gd name="T12" fmla="*/ 60 w 75"/>
                <a:gd name="T13" fmla="*/ 1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5" h="30">
                  <a:moveTo>
                    <a:pt x="60" y="18"/>
                  </a:moveTo>
                  <a:cubicBezTo>
                    <a:pt x="57" y="8"/>
                    <a:pt x="65" y="0"/>
                    <a:pt x="74" y="0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7" y="0"/>
                    <a:pt x="0" y="7"/>
                    <a:pt x="0" y="15"/>
                  </a:cubicBezTo>
                  <a:cubicBezTo>
                    <a:pt x="0" y="23"/>
                    <a:pt x="7" y="30"/>
                    <a:pt x="15" y="30"/>
                  </a:cubicBezTo>
                  <a:cubicBezTo>
                    <a:pt x="75" y="30"/>
                    <a:pt x="75" y="30"/>
                    <a:pt x="75" y="30"/>
                  </a:cubicBezTo>
                  <a:cubicBezTo>
                    <a:pt x="68" y="30"/>
                    <a:pt x="61" y="25"/>
                    <a:pt x="60" y="18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6818313" y="9525"/>
              <a:ext cx="593725" cy="112713"/>
            </a:xfrm>
            <a:custGeom>
              <a:avLst/>
              <a:gdLst>
                <a:gd name="T0" fmla="*/ 138 w 158"/>
                <a:gd name="T1" fmla="*/ 0 h 30"/>
                <a:gd name="T2" fmla="*/ 17 w 158"/>
                <a:gd name="T3" fmla="*/ 0 h 30"/>
                <a:gd name="T4" fmla="*/ 3 w 158"/>
                <a:gd name="T5" fmla="*/ 18 h 30"/>
                <a:gd name="T6" fmla="*/ 18 w 158"/>
                <a:gd name="T7" fmla="*/ 30 h 30"/>
                <a:gd name="T8" fmla="*/ 158 w 158"/>
                <a:gd name="T9" fmla="*/ 30 h 30"/>
                <a:gd name="T10" fmla="*/ 138 w 158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" h="30">
                  <a:moveTo>
                    <a:pt x="138" y="0"/>
                  </a:moveTo>
                  <a:cubicBezTo>
                    <a:pt x="17" y="0"/>
                    <a:pt x="17" y="0"/>
                    <a:pt x="17" y="0"/>
                  </a:cubicBezTo>
                  <a:cubicBezTo>
                    <a:pt x="8" y="0"/>
                    <a:pt x="0" y="8"/>
                    <a:pt x="3" y="18"/>
                  </a:cubicBezTo>
                  <a:cubicBezTo>
                    <a:pt x="4" y="25"/>
                    <a:pt x="11" y="30"/>
                    <a:pt x="18" y="30"/>
                  </a:cubicBezTo>
                  <a:cubicBezTo>
                    <a:pt x="158" y="30"/>
                    <a:pt x="158" y="30"/>
                    <a:pt x="158" y="30"/>
                  </a:cubicBezTo>
                  <a:cubicBezTo>
                    <a:pt x="152" y="19"/>
                    <a:pt x="146" y="9"/>
                    <a:pt x="138" y="0"/>
                  </a:cubicBezTo>
                  <a:close/>
                </a:path>
              </a:pathLst>
            </a:custGeom>
            <a:solidFill>
              <a:srgbClr val="668BB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605588" y="-733425"/>
              <a:ext cx="44450" cy="334963"/>
            </a:xfrm>
            <a:custGeom>
              <a:avLst/>
              <a:gdLst>
                <a:gd name="T0" fmla="*/ 28 w 28"/>
                <a:gd name="T1" fmla="*/ 211 h 211"/>
                <a:gd name="T2" fmla="*/ 0 w 28"/>
                <a:gd name="T3" fmla="*/ 211 h 211"/>
                <a:gd name="T4" fmla="*/ 0 w 28"/>
                <a:gd name="T5" fmla="*/ 0 h 211"/>
                <a:gd name="T6" fmla="*/ 28 w 28"/>
                <a:gd name="T7" fmla="*/ 0 h 211"/>
                <a:gd name="T8" fmla="*/ 28 w 28"/>
                <a:gd name="T9" fmla="*/ 211 h 211"/>
                <a:gd name="T10" fmla="*/ 28 w 28"/>
                <a:gd name="T11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11">
                  <a:moveTo>
                    <a:pt x="28" y="211"/>
                  </a:moveTo>
                  <a:lnTo>
                    <a:pt x="0" y="211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11"/>
                  </a:lnTo>
                  <a:lnTo>
                    <a:pt x="28" y="211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6729413" y="-733425"/>
              <a:ext cx="344488" cy="334963"/>
            </a:xfrm>
            <a:custGeom>
              <a:avLst/>
              <a:gdLst>
                <a:gd name="T0" fmla="*/ 108 w 217"/>
                <a:gd name="T1" fmla="*/ 164 h 211"/>
                <a:gd name="T2" fmla="*/ 108 w 217"/>
                <a:gd name="T3" fmla="*/ 164 h 211"/>
                <a:gd name="T4" fmla="*/ 172 w 217"/>
                <a:gd name="T5" fmla="*/ 0 h 211"/>
                <a:gd name="T6" fmla="*/ 217 w 217"/>
                <a:gd name="T7" fmla="*/ 0 h 211"/>
                <a:gd name="T8" fmla="*/ 217 w 217"/>
                <a:gd name="T9" fmla="*/ 211 h 211"/>
                <a:gd name="T10" fmla="*/ 189 w 217"/>
                <a:gd name="T11" fmla="*/ 211 h 211"/>
                <a:gd name="T12" fmla="*/ 189 w 217"/>
                <a:gd name="T13" fmla="*/ 36 h 211"/>
                <a:gd name="T14" fmla="*/ 186 w 217"/>
                <a:gd name="T15" fmla="*/ 36 h 211"/>
                <a:gd name="T16" fmla="*/ 118 w 217"/>
                <a:gd name="T17" fmla="*/ 211 h 211"/>
                <a:gd name="T18" fmla="*/ 99 w 217"/>
                <a:gd name="T19" fmla="*/ 211 h 211"/>
                <a:gd name="T20" fmla="*/ 30 w 217"/>
                <a:gd name="T21" fmla="*/ 36 h 211"/>
                <a:gd name="T22" fmla="*/ 28 w 217"/>
                <a:gd name="T23" fmla="*/ 36 h 211"/>
                <a:gd name="T24" fmla="*/ 28 w 217"/>
                <a:gd name="T25" fmla="*/ 211 h 211"/>
                <a:gd name="T26" fmla="*/ 0 w 217"/>
                <a:gd name="T27" fmla="*/ 211 h 211"/>
                <a:gd name="T28" fmla="*/ 0 w 217"/>
                <a:gd name="T29" fmla="*/ 0 h 211"/>
                <a:gd name="T30" fmla="*/ 47 w 217"/>
                <a:gd name="T31" fmla="*/ 0 h 211"/>
                <a:gd name="T32" fmla="*/ 108 w 217"/>
                <a:gd name="T33" fmla="*/ 164 h 211"/>
                <a:gd name="T34" fmla="*/ 108 w 217"/>
                <a:gd name="T35" fmla="*/ 164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7" h="211">
                  <a:moveTo>
                    <a:pt x="108" y="164"/>
                  </a:moveTo>
                  <a:lnTo>
                    <a:pt x="108" y="164"/>
                  </a:lnTo>
                  <a:lnTo>
                    <a:pt x="172" y="0"/>
                  </a:lnTo>
                  <a:lnTo>
                    <a:pt x="217" y="0"/>
                  </a:lnTo>
                  <a:lnTo>
                    <a:pt x="217" y="211"/>
                  </a:lnTo>
                  <a:lnTo>
                    <a:pt x="189" y="211"/>
                  </a:lnTo>
                  <a:lnTo>
                    <a:pt x="189" y="36"/>
                  </a:lnTo>
                  <a:lnTo>
                    <a:pt x="186" y="36"/>
                  </a:lnTo>
                  <a:lnTo>
                    <a:pt x="118" y="211"/>
                  </a:lnTo>
                  <a:lnTo>
                    <a:pt x="99" y="211"/>
                  </a:lnTo>
                  <a:lnTo>
                    <a:pt x="30" y="36"/>
                  </a:lnTo>
                  <a:lnTo>
                    <a:pt x="28" y="36"/>
                  </a:lnTo>
                  <a:lnTo>
                    <a:pt x="28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47" y="0"/>
                  </a:lnTo>
                  <a:lnTo>
                    <a:pt x="108" y="164"/>
                  </a:lnTo>
                  <a:lnTo>
                    <a:pt x="108" y="164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7131051" y="-741363"/>
              <a:ext cx="225425" cy="350838"/>
            </a:xfrm>
            <a:custGeom>
              <a:avLst/>
              <a:gdLst>
                <a:gd name="T0" fmla="*/ 50 w 60"/>
                <a:gd name="T1" fmla="*/ 19 h 93"/>
                <a:gd name="T2" fmla="*/ 43 w 60"/>
                <a:gd name="T3" fmla="*/ 13 h 93"/>
                <a:gd name="T4" fmla="*/ 33 w 60"/>
                <a:gd name="T5" fmla="*/ 10 h 93"/>
                <a:gd name="T6" fmla="*/ 27 w 60"/>
                <a:gd name="T7" fmla="*/ 11 h 93"/>
                <a:gd name="T8" fmla="*/ 21 w 60"/>
                <a:gd name="T9" fmla="*/ 14 h 93"/>
                <a:gd name="T10" fmla="*/ 17 w 60"/>
                <a:gd name="T11" fmla="*/ 18 h 93"/>
                <a:gd name="T12" fmla="*/ 16 w 60"/>
                <a:gd name="T13" fmla="*/ 25 h 93"/>
                <a:gd name="T14" fmla="*/ 17 w 60"/>
                <a:gd name="T15" fmla="*/ 31 h 93"/>
                <a:gd name="T16" fmla="*/ 21 w 60"/>
                <a:gd name="T17" fmla="*/ 35 h 93"/>
                <a:gd name="T18" fmla="*/ 27 w 60"/>
                <a:gd name="T19" fmla="*/ 38 h 93"/>
                <a:gd name="T20" fmla="*/ 34 w 60"/>
                <a:gd name="T21" fmla="*/ 40 h 93"/>
                <a:gd name="T22" fmla="*/ 43 w 60"/>
                <a:gd name="T23" fmla="*/ 44 h 93"/>
                <a:gd name="T24" fmla="*/ 51 w 60"/>
                <a:gd name="T25" fmla="*/ 48 h 93"/>
                <a:gd name="T26" fmla="*/ 58 w 60"/>
                <a:gd name="T27" fmla="*/ 55 h 93"/>
                <a:gd name="T28" fmla="*/ 60 w 60"/>
                <a:gd name="T29" fmla="*/ 66 h 93"/>
                <a:gd name="T30" fmla="*/ 57 w 60"/>
                <a:gd name="T31" fmla="*/ 78 h 93"/>
                <a:gd name="T32" fmla="*/ 50 w 60"/>
                <a:gd name="T33" fmla="*/ 87 h 93"/>
                <a:gd name="T34" fmla="*/ 41 w 60"/>
                <a:gd name="T35" fmla="*/ 92 h 93"/>
                <a:gd name="T36" fmla="*/ 29 w 60"/>
                <a:gd name="T37" fmla="*/ 93 h 93"/>
                <a:gd name="T38" fmla="*/ 13 w 60"/>
                <a:gd name="T39" fmla="*/ 90 h 93"/>
                <a:gd name="T40" fmla="*/ 0 w 60"/>
                <a:gd name="T41" fmla="*/ 80 h 93"/>
                <a:gd name="T42" fmla="*/ 10 w 60"/>
                <a:gd name="T43" fmla="*/ 72 h 93"/>
                <a:gd name="T44" fmla="*/ 18 w 60"/>
                <a:gd name="T45" fmla="*/ 80 h 93"/>
                <a:gd name="T46" fmla="*/ 29 w 60"/>
                <a:gd name="T47" fmla="*/ 83 h 93"/>
                <a:gd name="T48" fmla="*/ 36 w 60"/>
                <a:gd name="T49" fmla="*/ 82 h 93"/>
                <a:gd name="T50" fmla="*/ 41 w 60"/>
                <a:gd name="T51" fmla="*/ 79 h 93"/>
                <a:gd name="T52" fmla="*/ 46 w 60"/>
                <a:gd name="T53" fmla="*/ 74 h 93"/>
                <a:gd name="T54" fmla="*/ 47 w 60"/>
                <a:gd name="T55" fmla="*/ 68 h 93"/>
                <a:gd name="T56" fmla="*/ 46 w 60"/>
                <a:gd name="T57" fmla="*/ 61 h 93"/>
                <a:gd name="T58" fmla="*/ 41 w 60"/>
                <a:gd name="T59" fmla="*/ 56 h 93"/>
                <a:gd name="T60" fmla="*/ 34 w 60"/>
                <a:gd name="T61" fmla="*/ 53 h 93"/>
                <a:gd name="T62" fmla="*/ 26 w 60"/>
                <a:gd name="T63" fmla="*/ 50 h 93"/>
                <a:gd name="T64" fmla="*/ 18 w 60"/>
                <a:gd name="T65" fmla="*/ 47 h 93"/>
                <a:gd name="T66" fmla="*/ 10 w 60"/>
                <a:gd name="T67" fmla="*/ 43 h 93"/>
                <a:gd name="T68" fmla="*/ 5 w 60"/>
                <a:gd name="T69" fmla="*/ 36 h 93"/>
                <a:gd name="T70" fmla="*/ 3 w 60"/>
                <a:gd name="T71" fmla="*/ 25 h 93"/>
                <a:gd name="T72" fmla="*/ 6 w 60"/>
                <a:gd name="T73" fmla="*/ 14 h 93"/>
                <a:gd name="T74" fmla="*/ 13 w 60"/>
                <a:gd name="T75" fmla="*/ 6 h 93"/>
                <a:gd name="T76" fmla="*/ 23 w 60"/>
                <a:gd name="T77" fmla="*/ 1 h 93"/>
                <a:gd name="T78" fmla="*/ 34 w 60"/>
                <a:gd name="T79" fmla="*/ 0 h 93"/>
                <a:gd name="T80" fmla="*/ 48 w 60"/>
                <a:gd name="T81" fmla="*/ 3 h 93"/>
                <a:gd name="T82" fmla="*/ 59 w 60"/>
                <a:gd name="T83" fmla="*/ 10 h 93"/>
                <a:gd name="T84" fmla="*/ 50 w 60"/>
                <a:gd name="T85" fmla="*/ 19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0" h="93">
                  <a:moveTo>
                    <a:pt x="50" y="19"/>
                  </a:moveTo>
                  <a:cubicBezTo>
                    <a:pt x="48" y="16"/>
                    <a:pt x="46" y="14"/>
                    <a:pt x="43" y="13"/>
                  </a:cubicBezTo>
                  <a:cubicBezTo>
                    <a:pt x="40" y="11"/>
                    <a:pt x="37" y="10"/>
                    <a:pt x="33" y="10"/>
                  </a:cubicBezTo>
                  <a:cubicBezTo>
                    <a:pt x="31" y="10"/>
                    <a:pt x="29" y="11"/>
                    <a:pt x="27" y="11"/>
                  </a:cubicBezTo>
                  <a:cubicBezTo>
                    <a:pt x="25" y="12"/>
                    <a:pt x="23" y="13"/>
                    <a:pt x="21" y="14"/>
                  </a:cubicBezTo>
                  <a:cubicBezTo>
                    <a:pt x="20" y="15"/>
                    <a:pt x="18" y="17"/>
                    <a:pt x="17" y="18"/>
                  </a:cubicBezTo>
                  <a:cubicBezTo>
                    <a:pt x="16" y="20"/>
                    <a:pt x="16" y="22"/>
                    <a:pt x="16" y="25"/>
                  </a:cubicBezTo>
                  <a:cubicBezTo>
                    <a:pt x="16" y="27"/>
                    <a:pt x="16" y="29"/>
                    <a:pt x="17" y="31"/>
                  </a:cubicBezTo>
                  <a:cubicBezTo>
                    <a:pt x="18" y="33"/>
                    <a:pt x="19" y="34"/>
                    <a:pt x="21" y="35"/>
                  </a:cubicBezTo>
                  <a:cubicBezTo>
                    <a:pt x="23" y="36"/>
                    <a:pt x="24" y="37"/>
                    <a:pt x="27" y="38"/>
                  </a:cubicBezTo>
                  <a:cubicBezTo>
                    <a:pt x="29" y="39"/>
                    <a:pt x="31" y="40"/>
                    <a:pt x="34" y="40"/>
                  </a:cubicBezTo>
                  <a:cubicBezTo>
                    <a:pt x="37" y="41"/>
                    <a:pt x="40" y="42"/>
                    <a:pt x="43" y="44"/>
                  </a:cubicBezTo>
                  <a:cubicBezTo>
                    <a:pt x="46" y="45"/>
                    <a:pt x="49" y="46"/>
                    <a:pt x="51" y="48"/>
                  </a:cubicBezTo>
                  <a:cubicBezTo>
                    <a:pt x="54" y="50"/>
                    <a:pt x="56" y="53"/>
                    <a:pt x="58" y="55"/>
                  </a:cubicBezTo>
                  <a:cubicBezTo>
                    <a:pt x="59" y="58"/>
                    <a:pt x="60" y="62"/>
                    <a:pt x="60" y="66"/>
                  </a:cubicBezTo>
                  <a:cubicBezTo>
                    <a:pt x="60" y="71"/>
                    <a:pt x="59" y="75"/>
                    <a:pt x="57" y="78"/>
                  </a:cubicBezTo>
                  <a:cubicBezTo>
                    <a:pt x="56" y="82"/>
                    <a:pt x="53" y="85"/>
                    <a:pt x="50" y="87"/>
                  </a:cubicBezTo>
                  <a:cubicBezTo>
                    <a:pt x="48" y="89"/>
                    <a:pt x="44" y="91"/>
                    <a:pt x="41" y="92"/>
                  </a:cubicBezTo>
                  <a:cubicBezTo>
                    <a:pt x="37" y="93"/>
                    <a:pt x="33" y="93"/>
                    <a:pt x="29" y="93"/>
                  </a:cubicBezTo>
                  <a:cubicBezTo>
                    <a:pt x="24" y="93"/>
                    <a:pt x="18" y="92"/>
                    <a:pt x="13" y="90"/>
                  </a:cubicBezTo>
                  <a:cubicBezTo>
                    <a:pt x="8" y="88"/>
                    <a:pt x="3" y="85"/>
                    <a:pt x="0" y="80"/>
                  </a:cubicBezTo>
                  <a:cubicBezTo>
                    <a:pt x="10" y="72"/>
                    <a:pt x="10" y="72"/>
                    <a:pt x="10" y="72"/>
                  </a:cubicBezTo>
                  <a:cubicBezTo>
                    <a:pt x="12" y="75"/>
                    <a:pt x="14" y="78"/>
                    <a:pt x="18" y="80"/>
                  </a:cubicBezTo>
                  <a:cubicBezTo>
                    <a:pt x="21" y="82"/>
                    <a:pt x="25" y="83"/>
                    <a:pt x="29" y="83"/>
                  </a:cubicBezTo>
                  <a:cubicBezTo>
                    <a:pt x="31" y="83"/>
                    <a:pt x="34" y="82"/>
                    <a:pt x="36" y="82"/>
                  </a:cubicBezTo>
                  <a:cubicBezTo>
                    <a:pt x="38" y="81"/>
                    <a:pt x="40" y="80"/>
                    <a:pt x="41" y="79"/>
                  </a:cubicBezTo>
                  <a:cubicBezTo>
                    <a:pt x="43" y="78"/>
                    <a:pt x="45" y="76"/>
                    <a:pt x="46" y="74"/>
                  </a:cubicBezTo>
                  <a:cubicBezTo>
                    <a:pt x="47" y="72"/>
                    <a:pt x="47" y="70"/>
                    <a:pt x="47" y="68"/>
                  </a:cubicBezTo>
                  <a:cubicBezTo>
                    <a:pt x="47" y="65"/>
                    <a:pt x="47" y="63"/>
                    <a:pt x="46" y="61"/>
                  </a:cubicBezTo>
                  <a:cubicBezTo>
                    <a:pt x="44" y="59"/>
                    <a:pt x="43" y="57"/>
                    <a:pt x="41" y="56"/>
                  </a:cubicBezTo>
                  <a:cubicBezTo>
                    <a:pt x="39" y="55"/>
                    <a:pt x="37" y="54"/>
                    <a:pt x="34" y="53"/>
                  </a:cubicBezTo>
                  <a:cubicBezTo>
                    <a:pt x="32" y="52"/>
                    <a:pt x="29" y="51"/>
                    <a:pt x="26" y="50"/>
                  </a:cubicBezTo>
                  <a:cubicBezTo>
                    <a:pt x="23" y="49"/>
                    <a:pt x="20" y="48"/>
                    <a:pt x="18" y="47"/>
                  </a:cubicBezTo>
                  <a:cubicBezTo>
                    <a:pt x="15" y="46"/>
                    <a:pt x="13" y="44"/>
                    <a:pt x="10" y="43"/>
                  </a:cubicBezTo>
                  <a:cubicBezTo>
                    <a:pt x="8" y="41"/>
                    <a:pt x="6" y="38"/>
                    <a:pt x="5" y="36"/>
                  </a:cubicBezTo>
                  <a:cubicBezTo>
                    <a:pt x="4" y="33"/>
                    <a:pt x="3" y="29"/>
                    <a:pt x="3" y="25"/>
                  </a:cubicBezTo>
                  <a:cubicBezTo>
                    <a:pt x="3" y="21"/>
                    <a:pt x="4" y="17"/>
                    <a:pt x="6" y="14"/>
                  </a:cubicBezTo>
                  <a:cubicBezTo>
                    <a:pt x="8" y="11"/>
                    <a:pt x="10" y="8"/>
                    <a:pt x="13" y="6"/>
                  </a:cubicBezTo>
                  <a:cubicBezTo>
                    <a:pt x="16" y="4"/>
                    <a:pt x="19" y="2"/>
                    <a:pt x="23" y="1"/>
                  </a:cubicBezTo>
                  <a:cubicBezTo>
                    <a:pt x="26" y="0"/>
                    <a:pt x="30" y="0"/>
                    <a:pt x="34" y="0"/>
                  </a:cubicBezTo>
                  <a:cubicBezTo>
                    <a:pt x="39" y="0"/>
                    <a:pt x="44" y="1"/>
                    <a:pt x="48" y="3"/>
                  </a:cubicBezTo>
                  <a:cubicBezTo>
                    <a:pt x="53" y="5"/>
                    <a:pt x="56" y="7"/>
                    <a:pt x="59" y="10"/>
                  </a:cubicBezTo>
                  <a:cubicBezTo>
                    <a:pt x="50" y="19"/>
                    <a:pt x="50" y="19"/>
                    <a:pt x="50" y="1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7535863" y="-733425"/>
              <a:ext cx="263525" cy="334963"/>
            </a:xfrm>
            <a:custGeom>
              <a:avLst/>
              <a:gdLst>
                <a:gd name="T0" fmla="*/ 0 w 166"/>
                <a:gd name="T1" fmla="*/ 0 h 211"/>
                <a:gd name="T2" fmla="*/ 29 w 166"/>
                <a:gd name="T3" fmla="*/ 0 h 211"/>
                <a:gd name="T4" fmla="*/ 29 w 166"/>
                <a:gd name="T5" fmla="*/ 88 h 211"/>
                <a:gd name="T6" fmla="*/ 135 w 166"/>
                <a:gd name="T7" fmla="*/ 88 h 211"/>
                <a:gd name="T8" fmla="*/ 135 w 166"/>
                <a:gd name="T9" fmla="*/ 0 h 211"/>
                <a:gd name="T10" fmla="*/ 166 w 166"/>
                <a:gd name="T11" fmla="*/ 0 h 211"/>
                <a:gd name="T12" fmla="*/ 166 w 166"/>
                <a:gd name="T13" fmla="*/ 211 h 211"/>
                <a:gd name="T14" fmla="*/ 135 w 166"/>
                <a:gd name="T15" fmla="*/ 211 h 211"/>
                <a:gd name="T16" fmla="*/ 135 w 166"/>
                <a:gd name="T17" fmla="*/ 114 h 211"/>
                <a:gd name="T18" fmla="*/ 29 w 166"/>
                <a:gd name="T19" fmla="*/ 114 h 211"/>
                <a:gd name="T20" fmla="*/ 29 w 166"/>
                <a:gd name="T21" fmla="*/ 211 h 211"/>
                <a:gd name="T22" fmla="*/ 0 w 166"/>
                <a:gd name="T23" fmla="*/ 211 h 211"/>
                <a:gd name="T24" fmla="*/ 0 w 166"/>
                <a:gd name="T25" fmla="*/ 0 h 211"/>
                <a:gd name="T26" fmla="*/ 0 w 166"/>
                <a:gd name="T27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6" h="211">
                  <a:moveTo>
                    <a:pt x="0" y="0"/>
                  </a:moveTo>
                  <a:lnTo>
                    <a:pt x="29" y="0"/>
                  </a:lnTo>
                  <a:lnTo>
                    <a:pt x="29" y="88"/>
                  </a:lnTo>
                  <a:lnTo>
                    <a:pt x="135" y="88"/>
                  </a:lnTo>
                  <a:lnTo>
                    <a:pt x="135" y="0"/>
                  </a:lnTo>
                  <a:lnTo>
                    <a:pt x="166" y="0"/>
                  </a:lnTo>
                  <a:lnTo>
                    <a:pt x="166" y="211"/>
                  </a:lnTo>
                  <a:lnTo>
                    <a:pt x="135" y="211"/>
                  </a:lnTo>
                  <a:lnTo>
                    <a:pt x="135" y="114"/>
                  </a:lnTo>
                  <a:lnTo>
                    <a:pt x="29" y="114"/>
                  </a:lnTo>
                  <a:lnTo>
                    <a:pt x="29" y="211"/>
                  </a:lnTo>
                  <a:lnTo>
                    <a:pt x="0" y="211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42"/>
            <p:cNvSpPr>
              <a:spLocks noEditPoints="1"/>
            </p:cNvSpPr>
            <p:nvPr userDrawn="1"/>
          </p:nvSpPr>
          <p:spPr bwMode="auto">
            <a:xfrm>
              <a:off x="7840663" y="-627063"/>
              <a:ext cx="225425" cy="236538"/>
            </a:xfrm>
            <a:custGeom>
              <a:avLst/>
              <a:gdLst>
                <a:gd name="T0" fmla="*/ 48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8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60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2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2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3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8" y="26"/>
                  </a:moveTo>
                  <a:cubicBezTo>
                    <a:pt x="48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2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8" y="26"/>
                    <a:pt x="48" y="26"/>
                    <a:pt x="48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60" y="34"/>
                    <a:pt x="60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6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2" y="62"/>
                    <a:pt x="37" y="63"/>
                    <a:pt x="32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3" y="1"/>
                    <a:pt x="27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43"/>
            <p:cNvSpPr>
              <a:spLocks noEditPoints="1"/>
            </p:cNvSpPr>
            <p:nvPr userDrawn="1"/>
          </p:nvSpPr>
          <p:spPr bwMode="auto">
            <a:xfrm>
              <a:off x="8102601" y="-627063"/>
              <a:ext cx="203200" cy="236538"/>
            </a:xfrm>
            <a:custGeom>
              <a:avLst/>
              <a:gdLst>
                <a:gd name="T0" fmla="*/ 39 w 54"/>
                <a:gd name="T1" fmla="*/ 33 h 63"/>
                <a:gd name="T2" fmla="*/ 30 w 54"/>
                <a:gd name="T3" fmla="*/ 33 h 63"/>
                <a:gd name="T4" fmla="*/ 21 w 54"/>
                <a:gd name="T5" fmla="*/ 35 h 63"/>
                <a:gd name="T6" fmla="*/ 15 w 54"/>
                <a:gd name="T7" fmla="*/ 38 h 63"/>
                <a:gd name="T8" fmla="*/ 12 w 54"/>
                <a:gd name="T9" fmla="*/ 44 h 63"/>
                <a:gd name="T10" fmla="*/ 14 w 54"/>
                <a:gd name="T11" fmla="*/ 48 h 63"/>
                <a:gd name="T12" fmla="*/ 16 w 54"/>
                <a:gd name="T13" fmla="*/ 51 h 63"/>
                <a:gd name="T14" fmla="*/ 20 w 54"/>
                <a:gd name="T15" fmla="*/ 53 h 63"/>
                <a:gd name="T16" fmla="*/ 25 w 54"/>
                <a:gd name="T17" fmla="*/ 53 h 63"/>
                <a:gd name="T18" fmla="*/ 37 w 54"/>
                <a:gd name="T19" fmla="*/ 48 h 63"/>
                <a:gd name="T20" fmla="*/ 42 w 54"/>
                <a:gd name="T21" fmla="*/ 36 h 63"/>
                <a:gd name="T22" fmla="*/ 42 w 54"/>
                <a:gd name="T23" fmla="*/ 33 h 63"/>
                <a:gd name="T24" fmla="*/ 39 w 54"/>
                <a:gd name="T25" fmla="*/ 33 h 63"/>
                <a:gd name="T26" fmla="*/ 42 w 54"/>
                <a:gd name="T27" fmla="*/ 23 h 63"/>
                <a:gd name="T28" fmla="*/ 38 w 54"/>
                <a:gd name="T29" fmla="*/ 13 h 63"/>
                <a:gd name="T30" fmla="*/ 27 w 54"/>
                <a:gd name="T31" fmla="*/ 10 h 63"/>
                <a:gd name="T32" fmla="*/ 18 w 54"/>
                <a:gd name="T33" fmla="*/ 11 h 63"/>
                <a:gd name="T34" fmla="*/ 10 w 54"/>
                <a:gd name="T35" fmla="*/ 16 h 63"/>
                <a:gd name="T36" fmla="*/ 4 w 54"/>
                <a:gd name="T37" fmla="*/ 9 h 63"/>
                <a:gd name="T38" fmla="*/ 15 w 54"/>
                <a:gd name="T39" fmla="*/ 2 h 63"/>
                <a:gd name="T40" fmla="*/ 28 w 54"/>
                <a:gd name="T41" fmla="*/ 0 h 63"/>
                <a:gd name="T42" fmla="*/ 39 w 54"/>
                <a:gd name="T43" fmla="*/ 2 h 63"/>
                <a:gd name="T44" fmla="*/ 47 w 54"/>
                <a:gd name="T45" fmla="*/ 7 h 63"/>
                <a:gd name="T46" fmla="*/ 52 w 54"/>
                <a:gd name="T47" fmla="*/ 14 h 63"/>
                <a:gd name="T48" fmla="*/ 53 w 54"/>
                <a:gd name="T49" fmla="*/ 23 h 63"/>
                <a:gd name="T50" fmla="*/ 53 w 54"/>
                <a:gd name="T51" fmla="*/ 49 h 63"/>
                <a:gd name="T52" fmla="*/ 53 w 54"/>
                <a:gd name="T53" fmla="*/ 56 h 63"/>
                <a:gd name="T54" fmla="*/ 54 w 54"/>
                <a:gd name="T55" fmla="*/ 61 h 63"/>
                <a:gd name="T56" fmla="*/ 43 w 54"/>
                <a:gd name="T57" fmla="*/ 61 h 63"/>
                <a:gd name="T58" fmla="*/ 42 w 54"/>
                <a:gd name="T59" fmla="*/ 53 h 63"/>
                <a:gd name="T60" fmla="*/ 42 w 54"/>
                <a:gd name="T61" fmla="*/ 53 h 63"/>
                <a:gd name="T62" fmla="*/ 34 w 54"/>
                <a:gd name="T63" fmla="*/ 60 h 63"/>
                <a:gd name="T64" fmla="*/ 22 w 54"/>
                <a:gd name="T65" fmla="*/ 63 h 63"/>
                <a:gd name="T66" fmla="*/ 15 w 54"/>
                <a:gd name="T67" fmla="*/ 62 h 63"/>
                <a:gd name="T68" fmla="*/ 8 w 54"/>
                <a:gd name="T69" fmla="*/ 59 h 63"/>
                <a:gd name="T70" fmla="*/ 3 w 54"/>
                <a:gd name="T71" fmla="*/ 53 h 63"/>
                <a:gd name="T72" fmla="*/ 0 w 54"/>
                <a:gd name="T73" fmla="*/ 44 h 63"/>
                <a:gd name="T74" fmla="*/ 4 w 54"/>
                <a:gd name="T75" fmla="*/ 34 h 63"/>
                <a:gd name="T76" fmla="*/ 14 w 54"/>
                <a:gd name="T77" fmla="*/ 28 h 63"/>
                <a:gd name="T78" fmla="*/ 27 w 54"/>
                <a:gd name="T79" fmla="*/ 25 h 63"/>
                <a:gd name="T80" fmla="*/ 42 w 54"/>
                <a:gd name="T81" fmla="*/ 24 h 63"/>
                <a:gd name="T82" fmla="*/ 42 w 54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4" h="63">
                  <a:moveTo>
                    <a:pt x="39" y="33"/>
                  </a:moveTo>
                  <a:cubicBezTo>
                    <a:pt x="36" y="33"/>
                    <a:pt x="33" y="33"/>
                    <a:pt x="30" y="33"/>
                  </a:cubicBezTo>
                  <a:cubicBezTo>
                    <a:pt x="27" y="33"/>
                    <a:pt x="24" y="34"/>
                    <a:pt x="21" y="35"/>
                  </a:cubicBezTo>
                  <a:cubicBezTo>
                    <a:pt x="19" y="35"/>
                    <a:pt x="17" y="37"/>
                    <a:pt x="15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3" y="47"/>
                    <a:pt x="14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8" y="52"/>
                    <a:pt x="19" y="53"/>
                    <a:pt x="20" y="53"/>
                  </a:cubicBezTo>
                  <a:cubicBezTo>
                    <a:pt x="22" y="53"/>
                    <a:pt x="23" y="53"/>
                    <a:pt x="25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2" y="41"/>
                    <a:pt x="42" y="36"/>
                  </a:cubicBezTo>
                  <a:cubicBezTo>
                    <a:pt x="42" y="33"/>
                    <a:pt x="42" y="33"/>
                    <a:pt x="42" y="33"/>
                  </a:cubicBezTo>
                  <a:cubicBezTo>
                    <a:pt x="39" y="33"/>
                    <a:pt x="39" y="33"/>
                    <a:pt x="39" y="33"/>
                  </a:cubicBezTo>
                  <a:close/>
                  <a:moveTo>
                    <a:pt x="42" y="23"/>
                  </a:moveTo>
                  <a:cubicBezTo>
                    <a:pt x="42" y="18"/>
                    <a:pt x="41" y="15"/>
                    <a:pt x="38" y="13"/>
                  </a:cubicBezTo>
                  <a:cubicBezTo>
                    <a:pt x="35" y="11"/>
                    <a:pt x="32" y="10"/>
                    <a:pt x="27" y="10"/>
                  </a:cubicBezTo>
                  <a:cubicBezTo>
                    <a:pt x="24" y="10"/>
                    <a:pt x="21" y="10"/>
                    <a:pt x="18" y="11"/>
                  </a:cubicBezTo>
                  <a:cubicBezTo>
                    <a:pt x="15" y="13"/>
                    <a:pt x="12" y="14"/>
                    <a:pt x="10" y="1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7" y="6"/>
                    <a:pt x="10" y="4"/>
                    <a:pt x="15" y="2"/>
                  </a:cubicBezTo>
                  <a:cubicBezTo>
                    <a:pt x="19" y="1"/>
                    <a:pt x="23" y="0"/>
                    <a:pt x="28" y="0"/>
                  </a:cubicBezTo>
                  <a:cubicBezTo>
                    <a:pt x="33" y="0"/>
                    <a:pt x="36" y="1"/>
                    <a:pt x="39" y="2"/>
                  </a:cubicBezTo>
                  <a:cubicBezTo>
                    <a:pt x="43" y="3"/>
                    <a:pt x="45" y="5"/>
                    <a:pt x="47" y="7"/>
                  </a:cubicBezTo>
                  <a:cubicBezTo>
                    <a:pt x="49" y="9"/>
                    <a:pt x="51" y="11"/>
                    <a:pt x="52" y="14"/>
                  </a:cubicBezTo>
                  <a:cubicBezTo>
                    <a:pt x="53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4" y="60"/>
                    <a:pt x="54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3" y="58"/>
                    <a:pt x="42" y="55"/>
                    <a:pt x="42" y="53"/>
                  </a:cubicBezTo>
                  <a:cubicBezTo>
                    <a:pt x="42" y="53"/>
                    <a:pt x="42" y="53"/>
                    <a:pt x="42" y="53"/>
                  </a:cubicBezTo>
                  <a:cubicBezTo>
                    <a:pt x="40" y="56"/>
                    <a:pt x="37" y="58"/>
                    <a:pt x="34" y="60"/>
                  </a:cubicBezTo>
                  <a:cubicBezTo>
                    <a:pt x="30" y="62"/>
                    <a:pt x="27" y="63"/>
                    <a:pt x="22" y="63"/>
                  </a:cubicBezTo>
                  <a:cubicBezTo>
                    <a:pt x="20" y="63"/>
                    <a:pt x="17" y="62"/>
                    <a:pt x="15" y="62"/>
                  </a:cubicBezTo>
                  <a:cubicBezTo>
                    <a:pt x="12" y="61"/>
                    <a:pt x="10" y="60"/>
                    <a:pt x="8" y="59"/>
                  </a:cubicBezTo>
                  <a:cubicBezTo>
                    <a:pt x="6" y="57"/>
                    <a:pt x="4" y="55"/>
                    <a:pt x="3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2" y="36"/>
                    <a:pt x="4" y="34"/>
                  </a:cubicBezTo>
                  <a:cubicBezTo>
                    <a:pt x="7" y="31"/>
                    <a:pt x="10" y="29"/>
                    <a:pt x="14" y="28"/>
                  </a:cubicBezTo>
                  <a:cubicBezTo>
                    <a:pt x="18" y="26"/>
                    <a:pt x="22" y="25"/>
                    <a:pt x="27" y="25"/>
                  </a:cubicBezTo>
                  <a:cubicBezTo>
                    <a:pt x="32" y="24"/>
                    <a:pt x="37" y="24"/>
                    <a:pt x="42" y="24"/>
                  </a:cubicBezTo>
                  <a:cubicBezTo>
                    <a:pt x="42" y="23"/>
                    <a:pt x="42" y="23"/>
                    <a:pt x="42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8374063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8459788" y="-684213"/>
              <a:ext cx="142875" cy="290513"/>
            </a:xfrm>
            <a:custGeom>
              <a:avLst/>
              <a:gdLst>
                <a:gd name="T0" fmla="*/ 38 w 38"/>
                <a:gd name="T1" fmla="*/ 26 h 77"/>
                <a:gd name="T2" fmla="*/ 23 w 38"/>
                <a:gd name="T3" fmla="*/ 26 h 77"/>
                <a:gd name="T4" fmla="*/ 23 w 38"/>
                <a:gd name="T5" fmla="*/ 57 h 77"/>
                <a:gd name="T6" fmla="*/ 25 w 38"/>
                <a:gd name="T7" fmla="*/ 65 h 77"/>
                <a:gd name="T8" fmla="*/ 31 w 38"/>
                <a:gd name="T9" fmla="*/ 67 h 77"/>
                <a:gd name="T10" fmla="*/ 35 w 38"/>
                <a:gd name="T11" fmla="*/ 67 h 77"/>
                <a:gd name="T12" fmla="*/ 38 w 38"/>
                <a:gd name="T13" fmla="*/ 66 h 77"/>
                <a:gd name="T14" fmla="*/ 38 w 38"/>
                <a:gd name="T15" fmla="*/ 75 h 77"/>
                <a:gd name="T16" fmla="*/ 34 w 38"/>
                <a:gd name="T17" fmla="*/ 77 h 77"/>
                <a:gd name="T18" fmla="*/ 28 w 38"/>
                <a:gd name="T19" fmla="*/ 77 h 77"/>
                <a:gd name="T20" fmla="*/ 15 w 38"/>
                <a:gd name="T21" fmla="*/ 72 h 77"/>
                <a:gd name="T22" fmla="*/ 11 w 38"/>
                <a:gd name="T23" fmla="*/ 59 h 77"/>
                <a:gd name="T24" fmla="*/ 11 w 38"/>
                <a:gd name="T25" fmla="*/ 26 h 77"/>
                <a:gd name="T26" fmla="*/ 0 w 38"/>
                <a:gd name="T27" fmla="*/ 26 h 77"/>
                <a:gd name="T28" fmla="*/ 0 w 38"/>
                <a:gd name="T29" fmla="*/ 17 h 77"/>
                <a:gd name="T30" fmla="*/ 11 w 38"/>
                <a:gd name="T31" fmla="*/ 17 h 77"/>
                <a:gd name="T32" fmla="*/ 11 w 38"/>
                <a:gd name="T33" fmla="*/ 0 h 77"/>
                <a:gd name="T34" fmla="*/ 23 w 38"/>
                <a:gd name="T35" fmla="*/ 0 h 77"/>
                <a:gd name="T36" fmla="*/ 23 w 38"/>
                <a:gd name="T37" fmla="*/ 17 h 77"/>
                <a:gd name="T38" fmla="*/ 38 w 38"/>
                <a:gd name="T39" fmla="*/ 17 h 77"/>
                <a:gd name="T40" fmla="*/ 38 w 38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8" h="77">
                  <a:moveTo>
                    <a:pt x="38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3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3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8" y="75"/>
                    <a:pt x="38" y="75"/>
                    <a:pt x="38" y="75"/>
                  </a:cubicBezTo>
                  <a:cubicBezTo>
                    <a:pt x="37" y="76"/>
                    <a:pt x="35" y="76"/>
                    <a:pt x="34" y="77"/>
                  </a:cubicBezTo>
                  <a:cubicBezTo>
                    <a:pt x="32" y="77"/>
                    <a:pt x="30" y="77"/>
                    <a:pt x="28" y="77"/>
                  </a:cubicBezTo>
                  <a:cubicBezTo>
                    <a:pt x="23" y="77"/>
                    <a:pt x="18" y="76"/>
                    <a:pt x="15" y="72"/>
                  </a:cubicBezTo>
                  <a:cubicBezTo>
                    <a:pt x="12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8" y="17"/>
                    <a:pt x="38" y="17"/>
                    <a:pt x="38" y="17"/>
                  </a:cubicBezTo>
                  <a:cubicBezTo>
                    <a:pt x="38" y="26"/>
                    <a:pt x="38" y="26"/>
                    <a:pt x="38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8658226" y="-755650"/>
              <a:ext cx="200025" cy="357188"/>
            </a:xfrm>
            <a:custGeom>
              <a:avLst/>
              <a:gdLst>
                <a:gd name="T0" fmla="*/ 12 w 53"/>
                <a:gd name="T1" fmla="*/ 45 h 95"/>
                <a:gd name="T2" fmla="*/ 19 w 53"/>
                <a:gd name="T3" fmla="*/ 37 h 95"/>
                <a:gd name="T4" fmla="*/ 31 w 53"/>
                <a:gd name="T5" fmla="*/ 34 h 95"/>
                <a:gd name="T6" fmla="*/ 41 w 53"/>
                <a:gd name="T7" fmla="*/ 36 h 95"/>
                <a:gd name="T8" fmla="*/ 48 w 53"/>
                <a:gd name="T9" fmla="*/ 41 h 95"/>
                <a:gd name="T10" fmla="*/ 52 w 53"/>
                <a:gd name="T11" fmla="*/ 49 h 95"/>
                <a:gd name="T12" fmla="*/ 53 w 53"/>
                <a:gd name="T13" fmla="*/ 58 h 95"/>
                <a:gd name="T14" fmla="*/ 53 w 53"/>
                <a:gd name="T15" fmla="*/ 95 h 95"/>
                <a:gd name="T16" fmla="*/ 41 w 53"/>
                <a:gd name="T17" fmla="*/ 95 h 95"/>
                <a:gd name="T18" fmla="*/ 41 w 53"/>
                <a:gd name="T19" fmla="*/ 62 h 95"/>
                <a:gd name="T20" fmla="*/ 41 w 53"/>
                <a:gd name="T21" fmla="*/ 55 h 95"/>
                <a:gd name="T22" fmla="*/ 39 w 53"/>
                <a:gd name="T23" fmla="*/ 49 h 95"/>
                <a:gd name="T24" fmla="*/ 34 w 53"/>
                <a:gd name="T25" fmla="*/ 45 h 95"/>
                <a:gd name="T26" fmla="*/ 28 w 53"/>
                <a:gd name="T27" fmla="*/ 44 h 95"/>
                <a:gd name="T28" fmla="*/ 16 w 53"/>
                <a:gd name="T29" fmla="*/ 49 h 95"/>
                <a:gd name="T30" fmla="*/ 12 w 53"/>
                <a:gd name="T31" fmla="*/ 64 h 95"/>
                <a:gd name="T32" fmla="*/ 12 w 53"/>
                <a:gd name="T33" fmla="*/ 95 h 95"/>
                <a:gd name="T34" fmla="*/ 0 w 53"/>
                <a:gd name="T35" fmla="*/ 95 h 95"/>
                <a:gd name="T36" fmla="*/ 0 w 53"/>
                <a:gd name="T37" fmla="*/ 0 h 95"/>
                <a:gd name="T38" fmla="*/ 12 w 53"/>
                <a:gd name="T39" fmla="*/ 0 h 95"/>
                <a:gd name="T40" fmla="*/ 12 w 53"/>
                <a:gd name="T41" fmla="*/ 45 h 95"/>
                <a:gd name="T42" fmla="*/ 12 w 53"/>
                <a:gd name="T43" fmla="*/ 4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53" h="95">
                  <a:moveTo>
                    <a:pt x="12" y="45"/>
                  </a:moveTo>
                  <a:cubicBezTo>
                    <a:pt x="13" y="42"/>
                    <a:pt x="16" y="39"/>
                    <a:pt x="19" y="37"/>
                  </a:cubicBezTo>
                  <a:cubicBezTo>
                    <a:pt x="23" y="35"/>
                    <a:pt x="26" y="34"/>
                    <a:pt x="31" y="34"/>
                  </a:cubicBezTo>
                  <a:cubicBezTo>
                    <a:pt x="35" y="34"/>
                    <a:pt x="38" y="35"/>
                    <a:pt x="41" y="36"/>
                  </a:cubicBezTo>
                  <a:cubicBezTo>
                    <a:pt x="43" y="37"/>
                    <a:pt x="46" y="39"/>
                    <a:pt x="48" y="41"/>
                  </a:cubicBezTo>
                  <a:cubicBezTo>
                    <a:pt x="49" y="43"/>
                    <a:pt x="51" y="46"/>
                    <a:pt x="52" y="49"/>
                  </a:cubicBezTo>
                  <a:cubicBezTo>
                    <a:pt x="53" y="52"/>
                    <a:pt x="53" y="55"/>
                    <a:pt x="53" y="58"/>
                  </a:cubicBezTo>
                  <a:cubicBezTo>
                    <a:pt x="53" y="95"/>
                    <a:pt x="53" y="95"/>
                    <a:pt x="53" y="95"/>
                  </a:cubicBezTo>
                  <a:cubicBezTo>
                    <a:pt x="41" y="95"/>
                    <a:pt x="41" y="95"/>
                    <a:pt x="41" y="95"/>
                  </a:cubicBezTo>
                  <a:cubicBezTo>
                    <a:pt x="41" y="62"/>
                    <a:pt x="41" y="62"/>
                    <a:pt x="41" y="62"/>
                  </a:cubicBezTo>
                  <a:cubicBezTo>
                    <a:pt x="41" y="60"/>
                    <a:pt x="41" y="57"/>
                    <a:pt x="41" y="55"/>
                  </a:cubicBezTo>
                  <a:cubicBezTo>
                    <a:pt x="40" y="53"/>
                    <a:pt x="40" y="51"/>
                    <a:pt x="39" y="49"/>
                  </a:cubicBezTo>
                  <a:cubicBezTo>
                    <a:pt x="38" y="48"/>
                    <a:pt x="36" y="46"/>
                    <a:pt x="34" y="45"/>
                  </a:cubicBezTo>
                  <a:cubicBezTo>
                    <a:pt x="33" y="44"/>
                    <a:pt x="31" y="44"/>
                    <a:pt x="28" y="44"/>
                  </a:cubicBezTo>
                  <a:cubicBezTo>
                    <a:pt x="23" y="44"/>
                    <a:pt x="19" y="46"/>
                    <a:pt x="16" y="49"/>
                  </a:cubicBezTo>
                  <a:cubicBezTo>
                    <a:pt x="13" y="53"/>
                    <a:pt x="12" y="58"/>
                    <a:pt x="12" y="64"/>
                  </a:cubicBezTo>
                  <a:cubicBezTo>
                    <a:pt x="12" y="95"/>
                    <a:pt x="12" y="95"/>
                    <a:pt x="12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45"/>
                    <a:pt x="12" y="45"/>
                    <a:pt x="12" y="45"/>
                  </a:cubicBezTo>
                  <a:cubicBezTo>
                    <a:pt x="12" y="45"/>
                    <a:pt x="12" y="45"/>
                    <a:pt x="12" y="45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47"/>
            <p:cNvSpPr>
              <a:spLocks noEditPoints="1"/>
            </p:cNvSpPr>
            <p:nvPr userDrawn="1"/>
          </p:nvSpPr>
          <p:spPr bwMode="auto">
            <a:xfrm>
              <a:off x="9004301" y="-741363"/>
              <a:ext cx="311150" cy="350838"/>
            </a:xfrm>
            <a:custGeom>
              <a:avLst/>
              <a:gdLst>
                <a:gd name="T0" fmla="*/ 45 w 83"/>
                <a:gd name="T1" fmla="*/ 21 h 93"/>
                <a:gd name="T2" fmla="*/ 42 w 83"/>
                <a:gd name="T3" fmla="*/ 13 h 93"/>
                <a:gd name="T4" fmla="*/ 33 w 83"/>
                <a:gd name="T5" fmla="*/ 10 h 93"/>
                <a:gd name="T6" fmla="*/ 25 w 83"/>
                <a:gd name="T7" fmla="*/ 13 h 93"/>
                <a:gd name="T8" fmla="*/ 21 w 83"/>
                <a:gd name="T9" fmla="*/ 22 h 93"/>
                <a:gd name="T10" fmla="*/ 22 w 83"/>
                <a:gd name="T11" fmla="*/ 26 h 93"/>
                <a:gd name="T12" fmla="*/ 24 w 83"/>
                <a:gd name="T13" fmla="*/ 30 h 93"/>
                <a:gd name="T14" fmla="*/ 27 w 83"/>
                <a:gd name="T15" fmla="*/ 34 h 93"/>
                <a:gd name="T16" fmla="*/ 30 w 83"/>
                <a:gd name="T17" fmla="*/ 37 h 93"/>
                <a:gd name="T18" fmla="*/ 36 w 83"/>
                <a:gd name="T19" fmla="*/ 34 h 93"/>
                <a:gd name="T20" fmla="*/ 40 w 83"/>
                <a:gd name="T21" fmla="*/ 31 h 93"/>
                <a:gd name="T22" fmla="*/ 43 w 83"/>
                <a:gd name="T23" fmla="*/ 26 h 93"/>
                <a:gd name="T24" fmla="*/ 45 w 83"/>
                <a:gd name="T25" fmla="*/ 21 h 93"/>
                <a:gd name="T26" fmla="*/ 26 w 83"/>
                <a:gd name="T27" fmla="*/ 50 h 93"/>
                <a:gd name="T28" fmla="*/ 16 w 83"/>
                <a:gd name="T29" fmla="*/ 56 h 93"/>
                <a:gd name="T30" fmla="*/ 12 w 83"/>
                <a:gd name="T31" fmla="*/ 67 h 93"/>
                <a:gd name="T32" fmla="*/ 14 w 83"/>
                <a:gd name="T33" fmla="*/ 74 h 93"/>
                <a:gd name="T34" fmla="*/ 17 w 83"/>
                <a:gd name="T35" fmla="*/ 79 h 93"/>
                <a:gd name="T36" fmla="*/ 23 w 83"/>
                <a:gd name="T37" fmla="*/ 82 h 93"/>
                <a:gd name="T38" fmla="*/ 29 w 83"/>
                <a:gd name="T39" fmla="*/ 83 h 93"/>
                <a:gd name="T40" fmla="*/ 40 w 83"/>
                <a:gd name="T41" fmla="*/ 80 h 93"/>
                <a:gd name="T42" fmla="*/ 48 w 83"/>
                <a:gd name="T43" fmla="*/ 72 h 93"/>
                <a:gd name="T44" fmla="*/ 26 w 83"/>
                <a:gd name="T45" fmla="*/ 50 h 93"/>
                <a:gd name="T46" fmla="*/ 63 w 83"/>
                <a:gd name="T47" fmla="*/ 70 h 93"/>
                <a:gd name="T48" fmla="*/ 83 w 83"/>
                <a:gd name="T49" fmla="*/ 91 h 93"/>
                <a:gd name="T50" fmla="*/ 67 w 83"/>
                <a:gd name="T51" fmla="*/ 91 h 93"/>
                <a:gd name="T52" fmla="*/ 55 w 83"/>
                <a:gd name="T53" fmla="*/ 79 h 93"/>
                <a:gd name="T54" fmla="*/ 44 w 83"/>
                <a:gd name="T55" fmla="*/ 89 h 93"/>
                <a:gd name="T56" fmla="*/ 29 w 83"/>
                <a:gd name="T57" fmla="*/ 93 h 93"/>
                <a:gd name="T58" fmla="*/ 17 w 83"/>
                <a:gd name="T59" fmla="*/ 91 h 93"/>
                <a:gd name="T60" fmla="*/ 8 w 83"/>
                <a:gd name="T61" fmla="*/ 86 h 93"/>
                <a:gd name="T62" fmla="*/ 2 w 83"/>
                <a:gd name="T63" fmla="*/ 78 h 93"/>
                <a:gd name="T64" fmla="*/ 0 w 83"/>
                <a:gd name="T65" fmla="*/ 68 h 93"/>
                <a:gd name="T66" fmla="*/ 1 w 83"/>
                <a:gd name="T67" fmla="*/ 59 h 93"/>
                <a:gd name="T68" fmla="*/ 6 w 83"/>
                <a:gd name="T69" fmla="*/ 51 h 93"/>
                <a:gd name="T70" fmla="*/ 12 w 83"/>
                <a:gd name="T71" fmla="*/ 46 h 93"/>
                <a:gd name="T72" fmla="*/ 20 w 83"/>
                <a:gd name="T73" fmla="*/ 42 h 93"/>
                <a:gd name="T74" fmla="*/ 12 w 83"/>
                <a:gd name="T75" fmla="*/ 32 h 93"/>
                <a:gd name="T76" fmla="*/ 9 w 83"/>
                <a:gd name="T77" fmla="*/ 21 h 93"/>
                <a:gd name="T78" fmla="*/ 11 w 83"/>
                <a:gd name="T79" fmla="*/ 12 h 93"/>
                <a:gd name="T80" fmla="*/ 17 w 83"/>
                <a:gd name="T81" fmla="*/ 5 h 93"/>
                <a:gd name="T82" fmla="*/ 24 w 83"/>
                <a:gd name="T83" fmla="*/ 1 h 93"/>
                <a:gd name="T84" fmla="*/ 33 w 83"/>
                <a:gd name="T85" fmla="*/ 0 h 93"/>
                <a:gd name="T86" fmla="*/ 42 w 83"/>
                <a:gd name="T87" fmla="*/ 1 h 93"/>
                <a:gd name="T88" fmla="*/ 49 w 83"/>
                <a:gd name="T89" fmla="*/ 5 h 93"/>
                <a:gd name="T90" fmla="*/ 54 w 83"/>
                <a:gd name="T91" fmla="*/ 12 h 93"/>
                <a:gd name="T92" fmla="*/ 56 w 83"/>
                <a:gd name="T93" fmla="*/ 21 h 93"/>
                <a:gd name="T94" fmla="*/ 55 w 83"/>
                <a:gd name="T95" fmla="*/ 29 h 93"/>
                <a:gd name="T96" fmla="*/ 50 w 83"/>
                <a:gd name="T97" fmla="*/ 35 h 93"/>
                <a:gd name="T98" fmla="*/ 44 w 83"/>
                <a:gd name="T99" fmla="*/ 40 h 93"/>
                <a:gd name="T100" fmla="*/ 37 w 83"/>
                <a:gd name="T101" fmla="*/ 44 h 93"/>
                <a:gd name="T102" fmla="*/ 55 w 83"/>
                <a:gd name="T103" fmla="*/ 62 h 93"/>
                <a:gd name="T104" fmla="*/ 66 w 83"/>
                <a:gd name="T105" fmla="*/ 44 h 93"/>
                <a:gd name="T106" fmla="*/ 80 w 83"/>
                <a:gd name="T107" fmla="*/ 44 h 93"/>
                <a:gd name="T108" fmla="*/ 63 w 83"/>
                <a:gd name="T109" fmla="*/ 70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3" h="93">
                  <a:moveTo>
                    <a:pt x="45" y="21"/>
                  </a:moveTo>
                  <a:cubicBezTo>
                    <a:pt x="45" y="18"/>
                    <a:pt x="44" y="15"/>
                    <a:pt x="42" y="13"/>
                  </a:cubicBezTo>
                  <a:cubicBezTo>
                    <a:pt x="39" y="11"/>
                    <a:pt x="37" y="10"/>
                    <a:pt x="33" y="10"/>
                  </a:cubicBezTo>
                  <a:cubicBezTo>
                    <a:pt x="30" y="10"/>
                    <a:pt x="27" y="11"/>
                    <a:pt x="25" y="13"/>
                  </a:cubicBezTo>
                  <a:cubicBezTo>
                    <a:pt x="23" y="15"/>
                    <a:pt x="21" y="18"/>
                    <a:pt x="21" y="22"/>
                  </a:cubicBezTo>
                  <a:cubicBezTo>
                    <a:pt x="21" y="23"/>
                    <a:pt x="22" y="25"/>
                    <a:pt x="22" y="26"/>
                  </a:cubicBezTo>
                  <a:cubicBezTo>
                    <a:pt x="23" y="27"/>
                    <a:pt x="24" y="29"/>
                    <a:pt x="24" y="30"/>
                  </a:cubicBezTo>
                  <a:cubicBezTo>
                    <a:pt x="25" y="32"/>
                    <a:pt x="26" y="33"/>
                    <a:pt x="27" y="34"/>
                  </a:cubicBezTo>
                  <a:cubicBezTo>
                    <a:pt x="28" y="35"/>
                    <a:pt x="29" y="36"/>
                    <a:pt x="30" y="37"/>
                  </a:cubicBezTo>
                  <a:cubicBezTo>
                    <a:pt x="32" y="36"/>
                    <a:pt x="34" y="35"/>
                    <a:pt x="36" y="34"/>
                  </a:cubicBezTo>
                  <a:cubicBezTo>
                    <a:pt x="37" y="33"/>
                    <a:pt x="39" y="32"/>
                    <a:pt x="40" y="31"/>
                  </a:cubicBezTo>
                  <a:cubicBezTo>
                    <a:pt x="42" y="30"/>
                    <a:pt x="43" y="28"/>
                    <a:pt x="43" y="26"/>
                  </a:cubicBezTo>
                  <a:cubicBezTo>
                    <a:pt x="44" y="25"/>
                    <a:pt x="45" y="23"/>
                    <a:pt x="45" y="21"/>
                  </a:cubicBezTo>
                  <a:close/>
                  <a:moveTo>
                    <a:pt x="26" y="50"/>
                  </a:moveTo>
                  <a:cubicBezTo>
                    <a:pt x="22" y="51"/>
                    <a:pt x="19" y="54"/>
                    <a:pt x="16" y="56"/>
                  </a:cubicBezTo>
                  <a:cubicBezTo>
                    <a:pt x="13" y="59"/>
                    <a:pt x="12" y="63"/>
                    <a:pt x="12" y="67"/>
                  </a:cubicBezTo>
                  <a:cubicBezTo>
                    <a:pt x="12" y="70"/>
                    <a:pt x="13" y="72"/>
                    <a:pt x="14" y="74"/>
                  </a:cubicBezTo>
                  <a:cubicBezTo>
                    <a:pt x="14" y="76"/>
                    <a:pt x="16" y="77"/>
                    <a:pt x="17" y="79"/>
                  </a:cubicBezTo>
                  <a:cubicBezTo>
                    <a:pt x="19" y="80"/>
                    <a:pt x="21" y="81"/>
                    <a:pt x="23" y="82"/>
                  </a:cubicBezTo>
                  <a:cubicBezTo>
                    <a:pt x="25" y="82"/>
                    <a:pt x="27" y="83"/>
                    <a:pt x="29" y="83"/>
                  </a:cubicBezTo>
                  <a:cubicBezTo>
                    <a:pt x="33" y="83"/>
                    <a:pt x="37" y="82"/>
                    <a:pt x="40" y="80"/>
                  </a:cubicBezTo>
                  <a:cubicBezTo>
                    <a:pt x="42" y="78"/>
                    <a:pt x="45" y="75"/>
                    <a:pt x="48" y="72"/>
                  </a:cubicBezTo>
                  <a:cubicBezTo>
                    <a:pt x="26" y="50"/>
                    <a:pt x="26" y="50"/>
                    <a:pt x="26" y="50"/>
                  </a:cubicBezTo>
                  <a:close/>
                  <a:moveTo>
                    <a:pt x="63" y="70"/>
                  </a:moveTo>
                  <a:cubicBezTo>
                    <a:pt x="83" y="91"/>
                    <a:pt x="83" y="91"/>
                    <a:pt x="83" y="91"/>
                  </a:cubicBezTo>
                  <a:cubicBezTo>
                    <a:pt x="67" y="91"/>
                    <a:pt x="67" y="91"/>
                    <a:pt x="67" y="91"/>
                  </a:cubicBezTo>
                  <a:cubicBezTo>
                    <a:pt x="55" y="79"/>
                    <a:pt x="55" y="79"/>
                    <a:pt x="55" y="79"/>
                  </a:cubicBezTo>
                  <a:cubicBezTo>
                    <a:pt x="52" y="84"/>
                    <a:pt x="48" y="87"/>
                    <a:pt x="44" y="89"/>
                  </a:cubicBezTo>
                  <a:cubicBezTo>
                    <a:pt x="40" y="92"/>
                    <a:pt x="35" y="93"/>
                    <a:pt x="29" y="93"/>
                  </a:cubicBezTo>
                  <a:cubicBezTo>
                    <a:pt x="25" y="93"/>
                    <a:pt x="21" y="92"/>
                    <a:pt x="17" y="91"/>
                  </a:cubicBezTo>
                  <a:cubicBezTo>
                    <a:pt x="14" y="90"/>
                    <a:pt x="11" y="88"/>
                    <a:pt x="8" y="86"/>
                  </a:cubicBezTo>
                  <a:cubicBezTo>
                    <a:pt x="6" y="84"/>
                    <a:pt x="3" y="81"/>
                    <a:pt x="2" y="78"/>
                  </a:cubicBezTo>
                  <a:cubicBezTo>
                    <a:pt x="0" y="75"/>
                    <a:pt x="0" y="72"/>
                    <a:pt x="0" y="68"/>
                  </a:cubicBezTo>
                  <a:cubicBezTo>
                    <a:pt x="0" y="64"/>
                    <a:pt x="0" y="61"/>
                    <a:pt x="1" y="59"/>
                  </a:cubicBezTo>
                  <a:cubicBezTo>
                    <a:pt x="2" y="56"/>
                    <a:pt x="4" y="54"/>
                    <a:pt x="6" y="51"/>
                  </a:cubicBezTo>
                  <a:cubicBezTo>
                    <a:pt x="8" y="49"/>
                    <a:pt x="10" y="48"/>
                    <a:pt x="12" y="46"/>
                  </a:cubicBezTo>
                  <a:cubicBezTo>
                    <a:pt x="15" y="44"/>
                    <a:pt x="17" y="43"/>
                    <a:pt x="20" y="42"/>
                  </a:cubicBezTo>
                  <a:cubicBezTo>
                    <a:pt x="17" y="39"/>
                    <a:pt x="14" y="36"/>
                    <a:pt x="12" y="32"/>
                  </a:cubicBezTo>
                  <a:cubicBezTo>
                    <a:pt x="10" y="29"/>
                    <a:pt x="9" y="25"/>
                    <a:pt x="9" y="21"/>
                  </a:cubicBezTo>
                  <a:cubicBezTo>
                    <a:pt x="9" y="18"/>
                    <a:pt x="10" y="15"/>
                    <a:pt x="11" y="12"/>
                  </a:cubicBezTo>
                  <a:cubicBezTo>
                    <a:pt x="13" y="9"/>
                    <a:pt x="14" y="7"/>
                    <a:pt x="17" y="5"/>
                  </a:cubicBezTo>
                  <a:cubicBezTo>
                    <a:pt x="19" y="4"/>
                    <a:pt x="21" y="2"/>
                    <a:pt x="24" y="1"/>
                  </a:cubicBezTo>
                  <a:cubicBezTo>
                    <a:pt x="27" y="0"/>
                    <a:pt x="30" y="0"/>
                    <a:pt x="33" y="0"/>
                  </a:cubicBezTo>
                  <a:cubicBezTo>
                    <a:pt x="36" y="0"/>
                    <a:pt x="39" y="0"/>
                    <a:pt x="42" y="1"/>
                  </a:cubicBezTo>
                  <a:cubicBezTo>
                    <a:pt x="45" y="2"/>
                    <a:pt x="47" y="4"/>
                    <a:pt x="49" y="5"/>
                  </a:cubicBezTo>
                  <a:cubicBezTo>
                    <a:pt x="51" y="7"/>
                    <a:pt x="53" y="9"/>
                    <a:pt x="54" y="12"/>
                  </a:cubicBezTo>
                  <a:cubicBezTo>
                    <a:pt x="55" y="14"/>
                    <a:pt x="56" y="17"/>
                    <a:pt x="56" y="21"/>
                  </a:cubicBezTo>
                  <a:cubicBezTo>
                    <a:pt x="56" y="24"/>
                    <a:pt x="56" y="26"/>
                    <a:pt x="55" y="29"/>
                  </a:cubicBezTo>
                  <a:cubicBezTo>
                    <a:pt x="53" y="31"/>
                    <a:pt x="52" y="33"/>
                    <a:pt x="50" y="35"/>
                  </a:cubicBezTo>
                  <a:cubicBezTo>
                    <a:pt x="49" y="37"/>
                    <a:pt x="47" y="39"/>
                    <a:pt x="44" y="40"/>
                  </a:cubicBezTo>
                  <a:cubicBezTo>
                    <a:pt x="42" y="42"/>
                    <a:pt x="40" y="43"/>
                    <a:pt x="37" y="44"/>
                  </a:cubicBezTo>
                  <a:cubicBezTo>
                    <a:pt x="55" y="62"/>
                    <a:pt x="55" y="62"/>
                    <a:pt x="55" y="62"/>
                  </a:cubicBezTo>
                  <a:cubicBezTo>
                    <a:pt x="66" y="44"/>
                    <a:pt x="66" y="44"/>
                    <a:pt x="66" y="44"/>
                  </a:cubicBezTo>
                  <a:cubicBezTo>
                    <a:pt x="80" y="44"/>
                    <a:pt x="80" y="44"/>
                    <a:pt x="80" y="44"/>
                  </a:cubicBezTo>
                  <a:cubicBezTo>
                    <a:pt x="63" y="70"/>
                    <a:pt x="63" y="70"/>
                    <a:pt x="63" y="70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8"/>
            <p:cNvSpPr>
              <a:spLocks noEditPoints="1"/>
            </p:cNvSpPr>
            <p:nvPr userDrawn="1"/>
          </p:nvSpPr>
          <p:spPr bwMode="auto">
            <a:xfrm>
              <a:off x="9447213" y="-741363"/>
              <a:ext cx="371475" cy="342900"/>
            </a:xfrm>
            <a:custGeom>
              <a:avLst/>
              <a:gdLst>
                <a:gd name="T0" fmla="*/ 14 w 99"/>
                <a:gd name="T1" fmla="*/ 46 h 91"/>
                <a:gd name="T2" fmla="*/ 16 w 99"/>
                <a:gd name="T3" fmla="*/ 59 h 91"/>
                <a:gd name="T4" fmla="*/ 23 w 99"/>
                <a:gd name="T5" fmla="*/ 70 h 91"/>
                <a:gd name="T6" fmla="*/ 33 w 99"/>
                <a:gd name="T7" fmla="*/ 77 h 91"/>
                <a:gd name="T8" fmla="*/ 46 w 99"/>
                <a:gd name="T9" fmla="*/ 80 h 91"/>
                <a:gd name="T10" fmla="*/ 60 w 99"/>
                <a:gd name="T11" fmla="*/ 77 h 91"/>
                <a:gd name="T12" fmla="*/ 70 w 99"/>
                <a:gd name="T13" fmla="*/ 70 h 91"/>
                <a:gd name="T14" fmla="*/ 77 w 99"/>
                <a:gd name="T15" fmla="*/ 59 h 91"/>
                <a:gd name="T16" fmla="*/ 79 w 99"/>
                <a:gd name="T17" fmla="*/ 46 h 91"/>
                <a:gd name="T18" fmla="*/ 77 w 99"/>
                <a:gd name="T19" fmla="*/ 32 h 91"/>
                <a:gd name="T20" fmla="*/ 70 w 99"/>
                <a:gd name="T21" fmla="*/ 21 h 91"/>
                <a:gd name="T22" fmla="*/ 60 w 99"/>
                <a:gd name="T23" fmla="*/ 14 h 91"/>
                <a:gd name="T24" fmla="*/ 47 w 99"/>
                <a:gd name="T25" fmla="*/ 11 h 91"/>
                <a:gd name="T26" fmla="*/ 33 w 99"/>
                <a:gd name="T27" fmla="*/ 14 h 91"/>
                <a:gd name="T28" fmla="*/ 23 w 99"/>
                <a:gd name="T29" fmla="*/ 21 h 91"/>
                <a:gd name="T30" fmla="*/ 16 w 99"/>
                <a:gd name="T31" fmla="*/ 32 h 91"/>
                <a:gd name="T32" fmla="*/ 14 w 99"/>
                <a:gd name="T33" fmla="*/ 46 h 91"/>
                <a:gd name="T34" fmla="*/ 99 w 99"/>
                <a:gd name="T35" fmla="*/ 91 h 91"/>
                <a:gd name="T36" fmla="*/ 46 w 99"/>
                <a:gd name="T37" fmla="*/ 91 h 91"/>
                <a:gd name="T38" fmla="*/ 28 w 99"/>
                <a:gd name="T39" fmla="*/ 88 h 91"/>
                <a:gd name="T40" fmla="*/ 13 w 99"/>
                <a:gd name="T41" fmla="*/ 79 h 91"/>
                <a:gd name="T42" fmla="*/ 4 w 99"/>
                <a:gd name="T43" fmla="*/ 64 h 91"/>
                <a:gd name="T44" fmla="*/ 0 w 99"/>
                <a:gd name="T45" fmla="*/ 46 h 91"/>
                <a:gd name="T46" fmla="*/ 4 w 99"/>
                <a:gd name="T47" fmla="*/ 27 h 91"/>
                <a:gd name="T48" fmla="*/ 13 w 99"/>
                <a:gd name="T49" fmla="*/ 13 h 91"/>
                <a:gd name="T50" fmla="*/ 28 w 99"/>
                <a:gd name="T51" fmla="*/ 3 h 91"/>
                <a:gd name="T52" fmla="*/ 47 w 99"/>
                <a:gd name="T53" fmla="*/ 0 h 91"/>
                <a:gd name="T54" fmla="*/ 65 w 99"/>
                <a:gd name="T55" fmla="*/ 3 h 91"/>
                <a:gd name="T56" fmla="*/ 79 w 99"/>
                <a:gd name="T57" fmla="*/ 13 h 91"/>
                <a:gd name="T58" fmla="*/ 89 w 99"/>
                <a:gd name="T59" fmla="*/ 27 h 91"/>
                <a:gd name="T60" fmla="*/ 92 w 99"/>
                <a:gd name="T61" fmla="*/ 46 h 91"/>
                <a:gd name="T62" fmla="*/ 87 w 99"/>
                <a:gd name="T63" fmla="*/ 66 h 91"/>
                <a:gd name="T64" fmla="*/ 74 w 99"/>
                <a:gd name="T65" fmla="*/ 80 h 91"/>
                <a:gd name="T66" fmla="*/ 74 w 99"/>
                <a:gd name="T67" fmla="*/ 81 h 91"/>
                <a:gd name="T68" fmla="*/ 99 w 99"/>
                <a:gd name="T69" fmla="*/ 81 h 91"/>
                <a:gd name="T70" fmla="*/ 99 w 99"/>
                <a:gd name="T71" fmla="*/ 91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9" h="91">
                  <a:moveTo>
                    <a:pt x="14" y="46"/>
                  </a:moveTo>
                  <a:cubicBezTo>
                    <a:pt x="14" y="50"/>
                    <a:pt x="14" y="55"/>
                    <a:pt x="16" y="59"/>
                  </a:cubicBezTo>
                  <a:cubicBezTo>
                    <a:pt x="18" y="63"/>
                    <a:pt x="20" y="67"/>
                    <a:pt x="23" y="70"/>
                  </a:cubicBezTo>
                  <a:cubicBezTo>
                    <a:pt x="25" y="73"/>
                    <a:pt x="29" y="76"/>
                    <a:pt x="33" y="77"/>
                  </a:cubicBezTo>
                  <a:cubicBezTo>
                    <a:pt x="37" y="79"/>
                    <a:pt x="41" y="80"/>
                    <a:pt x="46" y="80"/>
                  </a:cubicBezTo>
                  <a:cubicBezTo>
                    <a:pt x="51" y="80"/>
                    <a:pt x="56" y="79"/>
                    <a:pt x="60" y="77"/>
                  </a:cubicBezTo>
                  <a:cubicBezTo>
                    <a:pt x="64" y="76"/>
                    <a:pt x="67" y="73"/>
                    <a:pt x="70" y="70"/>
                  </a:cubicBezTo>
                  <a:cubicBezTo>
                    <a:pt x="73" y="67"/>
                    <a:pt x="75" y="63"/>
                    <a:pt x="77" y="59"/>
                  </a:cubicBezTo>
                  <a:cubicBezTo>
                    <a:pt x="78" y="55"/>
                    <a:pt x="79" y="50"/>
                    <a:pt x="79" y="46"/>
                  </a:cubicBezTo>
                  <a:cubicBezTo>
                    <a:pt x="79" y="41"/>
                    <a:pt x="78" y="36"/>
                    <a:pt x="77" y="32"/>
                  </a:cubicBezTo>
                  <a:cubicBezTo>
                    <a:pt x="75" y="28"/>
                    <a:pt x="73" y="24"/>
                    <a:pt x="70" y="21"/>
                  </a:cubicBezTo>
                  <a:cubicBezTo>
                    <a:pt x="68" y="18"/>
                    <a:pt x="64" y="16"/>
                    <a:pt x="60" y="14"/>
                  </a:cubicBezTo>
                  <a:cubicBezTo>
                    <a:pt x="56" y="12"/>
                    <a:pt x="52" y="11"/>
                    <a:pt x="47" y="11"/>
                  </a:cubicBezTo>
                  <a:cubicBezTo>
                    <a:pt x="42" y="11"/>
                    <a:pt x="37" y="12"/>
                    <a:pt x="33" y="14"/>
                  </a:cubicBezTo>
                  <a:cubicBezTo>
                    <a:pt x="29" y="16"/>
                    <a:pt x="26" y="18"/>
                    <a:pt x="23" y="21"/>
                  </a:cubicBezTo>
                  <a:cubicBezTo>
                    <a:pt x="20" y="24"/>
                    <a:pt x="18" y="28"/>
                    <a:pt x="16" y="32"/>
                  </a:cubicBezTo>
                  <a:cubicBezTo>
                    <a:pt x="14" y="36"/>
                    <a:pt x="14" y="41"/>
                    <a:pt x="14" y="46"/>
                  </a:cubicBezTo>
                  <a:close/>
                  <a:moveTo>
                    <a:pt x="99" y="91"/>
                  </a:moveTo>
                  <a:cubicBezTo>
                    <a:pt x="46" y="91"/>
                    <a:pt x="46" y="91"/>
                    <a:pt x="46" y="91"/>
                  </a:cubicBezTo>
                  <a:cubicBezTo>
                    <a:pt x="40" y="91"/>
                    <a:pt x="33" y="90"/>
                    <a:pt x="28" y="88"/>
                  </a:cubicBezTo>
                  <a:cubicBezTo>
                    <a:pt x="22" y="86"/>
                    <a:pt x="17" y="83"/>
                    <a:pt x="13" y="79"/>
                  </a:cubicBezTo>
                  <a:cubicBezTo>
                    <a:pt x="9" y="75"/>
                    <a:pt x="6" y="70"/>
                    <a:pt x="4" y="64"/>
                  </a:cubicBezTo>
                  <a:cubicBezTo>
                    <a:pt x="1" y="59"/>
                    <a:pt x="0" y="52"/>
                    <a:pt x="0" y="46"/>
                  </a:cubicBezTo>
                  <a:cubicBezTo>
                    <a:pt x="0" y="39"/>
                    <a:pt x="1" y="33"/>
                    <a:pt x="4" y="27"/>
                  </a:cubicBezTo>
                  <a:cubicBezTo>
                    <a:pt x="6" y="22"/>
                    <a:pt x="9" y="17"/>
                    <a:pt x="13" y="13"/>
                  </a:cubicBezTo>
                  <a:cubicBezTo>
                    <a:pt x="18" y="9"/>
                    <a:pt x="22" y="6"/>
                    <a:pt x="28" y="3"/>
                  </a:cubicBezTo>
                  <a:cubicBezTo>
                    <a:pt x="34" y="1"/>
                    <a:pt x="40" y="0"/>
                    <a:pt x="47" y="0"/>
                  </a:cubicBezTo>
                  <a:cubicBezTo>
                    <a:pt x="53" y="0"/>
                    <a:pt x="59" y="1"/>
                    <a:pt x="65" y="3"/>
                  </a:cubicBezTo>
                  <a:cubicBezTo>
                    <a:pt x="70" y="6"/>
                    <a:pt x="75" y="9"/>
                    <a:pt x="79" y="13"/>
                  </a:cubicBezTo>
                  <a:cubicBezTo>
                    <a:pt x="84" y="17"/>
                    <a:pt x="87" y="22"/>
                    <a:pt x="89" y="27"/>
                  </a:cubicBezTo>
                  <a:cubicBezTo>
                    <a:pt x="91" y="33"/>
                    <a:pt x="92" y="39"/>
                    <a:pt x="92" y="46"/>
                  </a:cubicBezTo>
                  <a:cubicBezTo>
                    <a:pt x="92" y="53"/>
                    <a:pt x="91" y="60"/>
                    <a:pt x="87" y="66"/>
                  </a:cubicBezTo>
                  <a:cubicBezTo>
                    <a:pt x="84" y="72"/>
                    <a:pt x="80" y="77"/>
                    <a:pt x="74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99" y="81"/>
                    <a:pt x="99" y="81"/>
                    <a:pt x="99" y="81"/>
                  </a:cubicBezTo>
                  <a:cubicBezTo>
                    <a:pt x="99" y="91"/>
                    <a:pt x="99" y="91"/>
                    <a:pt x="99" y="9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9848851" y="-620713"/>
              <a:ext cx="203200" cy="230188"/>
            </a:xfrm>
            <a:custGeom>
              <a:avLst/>
              <a:gdLst>
                <a:gd name="T0" fmla="*/ 42 w 54"/>
                <a:gd name="T1" fmla="*/ 59 h 61"/>
                <a:gd name="T2" fmla="*/ 42 w 54"/>
                <a:gd name="T3" fmla="*/ 54 h 61"/>
                <a:gd name="T4" fmla="*/ 42 w 54"/>
                <a:gd name="T5" fmla="*/ 49 h 61"/>
                <a:gd name="T6" fmla="*/ 42 w 54"/>
                <a:gd name="T7" fmla="*/ 49 h 61"/>
                <a:gd name="T8" fmla="*/ 34 w 54"/>
                <a:gd name="T9" fmla="*/ 57 h 61"/>
                <a:gd name="T10" fmla="*/ 22 w 54"/>
                <a:gd name="T11" fmla="*/ 61 h 61"/>
                <a:gd name="T12" fmla="*/ 12 w 54"/>
                <a:gd name="T13" fmla="*/ 59 h 61"/>
                <a:gd name="T14" fmla="*/ 5 w 54"/>
                <a:gd name="T15" fmla="*/ 54 h 61"/>
                <a:gd name="T16" fmla="*/ 1 w 54"/>
                <a:gd name="T17" fmla="*/ 46 h 61"/>
                <a:gd name="T18" fmla="*/ 0 w 54"/>
                <a:gd name="T19" fmla="*/ 37 h 61"/>
                <a:gd name="T20" fmla="*/ 0 w 54"/>
                <a:gd name="T21" fmla="*/ 0 h 61"/>
                <a:gd name="T22" fmla="*/ 12 w 54"/>
                <a:gd name="T23" fmla="*/ 0 h 61"/>
                <a:gd name="T24" fmla="*/ 12 w 54"/>
                <a:gd name="T25" fmla="*/ 32 h 61"/>
                <a:gd name="T26" fmla="*/ 12 w 54"/>
                <a:gd name="T27" fmla="*/ 39 h 61"/>
                <a:gd name="T28" fmla="*/ 14 w 54"/>
                <a:gd name="T29" fmla="*/ 45 h 61"/>
                <a:gd name="T30" fmla="*/ 19 w 54"/>
                <a:gd name="T31" fmla="*/ 49 h 61"/>
                <a:gd name="T32" fmla="*/ 25 w 54"/>
                <a:gd name="T33" fmla="*/ 51 h 61"/>
                <a:gd name="T34" fmla="*/ 37 w 54"/>
                <a:gd name="T35" fmla="*/ 45 h 61"/>
                <a:gd name="T36" fmla="*/ 41 w 54"/>
                <a:gd name="T37" fmla="*/ 31 h 61"/>
                <a:gd name="T38" fmla="*/ 41 w 54"/>
                <a:gd name="T39" fmla="*/ 0 h 61"/>
                <a:gd name="T40" fmla="*/ 53 w 54"/>
                <a:gd name="T41" fmla="*/ 0 h 61"/>
                <a:gd name="T42" fmla="*/ 53 w 54"/>
                <a:gd name="T43" fmla="*/ 46 h 61"/>
                <a:gd name="T44" fmla="*/ 53 w 54"/>
                <a:gd name="T45" fmla="*/ 52 h 61"/>
                <a:gd name="T46" fmla="*/ 54 w 54"/>
                <a:gd name="T47" fmla="*/ 59 h 61"/>
                <a:gd name="T48" fmla="*/ 42 w 54"/>
                <a:gd name="T49" fmla="*/ 59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4" h="61">
                  <a:moveTo>
                    <a:pt x="42" y="59"/>
                  </a:moveTo>
                  <a:cubicBezTo>
                    <a:pt x="42" y="58"/>
                    <a:pt x="42" y="56"/>
                    <a:pt x="42" y="54"/>
                  </a:cubicBezTo>
                  <a:cubicBezTo>
                    <a:pt x="42" y="52"/>
                    <a:pt x="42" y="51"/>
                    <a:pt x="42" y="49"/>
                  </a:cubicBezTo>
                  <a:cubicBezTo>
                    <a:pt x="42" y="49"/>
                    <a:pt x="42" y="49"/>
                    <a:pt x="42" y="49"/>
                  </a:cubicBezTo>
                  <a:cubicBezTo>
                    <a:pt x="40" y="52"/>
                    <a:pt x="38" y="55"/>
                    <a:pt x="34" y="57"/>
                  </a:cubicBezTo>
                  <a:cubicBezTo>
                    <a:pt x="31" y="60"/>
                    <a:pt x="27" y="61"/>
                    <a:pt x="22" y="61"/>
                  </a:cubicBezTo>
                  <a:cubicBezTo>
                    <a:pt x="18" y="61"/>
                    <a:pt x="15" y="60"/>
                    <a:pt x="12" y="59"/>
                  </a:cubicBezTo>
                  <a:cubicBezTo>
                    <a:pt x="9" y="58"/>
                    <a:pt x="7" y="56"/>
                    <a:pt x="5" y="54"/>
                  </a:cubicBezTo>
                  <a:cubicBezTo>
                    <a:pt x="4" y="51"/>
                    <a:pt x="2" y="49"/>
                    <a:pt x="1" y="46"/>
                  </a:cubicBezTo>
                  <a:cubicBezTo>
                    <a:pt x="0" y="43"/>
                    <a:pt x="0" y="40"/>
                    <a:pt x="0" y="3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2" y="37"/>
                    <a:pt x="12" y="39"/>
                  </a:cubicBezTo>
                  <a:cubicBezTo>
                    <a:pt x="13" y="42"/>
                    <a:pt x="13" y="44"/>
                    <a:pt x="14" y="45"/>
                  </a:cubicBezTo>
                  <a:cubicBezTo>
                    <a:pt x="15" y="47"/>
                    <a:pt x="17" y="48"/>
                    <a:pt x="19" y="49"/>
                  </a:cubicBezTo>
                  <a:cubicBezTo>
                    <a:pt x="20" y="50"/>
                    <a:pt x="23" y="51"/>
                    <a:pt x="25" y="51"/>
                  </a:cubicBezTo>
                  <a:cubicBezTo>
                    <a:pt x="30" y="51"/>
                    <a:pt x="34" y="49"/>
                    <a:pt x="37" y="45"/>
                  </a:cubicBezTo>
                  <a:cubicBezTo>
                    <a:pt x="40" y="42"/>
                    <a:pt x="41" y="37"/>
                    <a:pt x="41" y="31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46"/>
                    <a:pt x="53" y="46"/>
                    <a:pt x="53" y="46"/>
                  </a:cubicBezTo>
                  <a:cubicBezTo>
                    <a:pt x="53" y="48"/>
                    <a:pt x="53" y="50"/>
                    <a:pt x="53" y="52"/>
                  </a:cubicBezTo>
                  <a:cubicBezTo>
                    <a:pt x="53" y="55"/>
                    <a:pt x="53" y="57"/>
                    <a:pt x="54" y="59"/>
                  </a:cubicBezTo>
                  <a:cubicBezTo>
                    <a:pt x="42" y="59"/>
                    <a:pt x="42" y="59"/>
                    <a:pt x="42" y="59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0"/>
            <p:cNvSpPr>
              <a:spLocks noEditPoints="1"/>
            </p:cNvSpPr>
            <p:nvPr userDrawn="1"/>
          </p:nvSpPr>
          <p:spPr bwMode="auto">
            <a:xfrm>
              <a:off x="10115551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3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3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3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3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10239376" y="-627063"/>
              <a:ext cx="203200" cy="228600"/>
            </a:xfrm>
            <a:custGeom>
              <a:avLst/>
              <a:gdLst>
                <a:gd name="T0" fmla="*/ 12 w 54"/>
                <a:gd name="T1" fmla="*/ 2 h 61"/>
                <a:gd name="T2" fmla="*/ 12 w 54"/>
                <a:gd name="T3" fmla="*/ 7 h 61"/>
                <a:gd name="T4" fmla="*/ 12 w 54"/>
                <a:gd name="T5" fmla="*/ 11 h 61"/>
                <a:gd name="T6" fmla="*/ 12 w 54"/>
                <a:gd name="T7" fmla="*/ 11 h 61"/>
                <a:gd name="T8" fmla="*/ 16 w 54"/>
                <a:gd name="T9" fmla="*/ 7 h 61"/>
                <a:gd name="T10" fmla="*/ 20 w 54"/>
                <a:gd name="T11" fmla="*/ 3 h 61"/>
                <a:gd name="T12" fmla="*/ 26 w 54"/>
                <a:gd name="T13" fmla="*/ 1 h 61"/>
                <a:gd name="T14" fmla="*/ 32 w 54"/>
                <a:gd name="T15" fmla="*/ 0 h 61"/>
                <a:gd name="T16" fmla="*/ 42 w 54"/>
                <a:gd name="T17" fmla="*/ 2 h 61"/>
                <a:gd name="T18" fmla="*/ 49 w 54"/>
                <a:gd name="T19" fmla="*/ 7 h 61"/>
                <a:gd name="T20" fmla="*/ 53 w 54"/>
                <a:gd name="T21" fmla="*/ 15 h 61"/>
                <a:gd name="T22" fmla="*/ 54 w 54"/>
                <a:gd name="T23" fmla="*/ 24 h 61"/>
                <a:gd name="T24" fmla="*/ 54 w 54"/>
                <a:gd name="T25" fmla="*/ 61 h 61"/>
                <a:gd name="T26" fmla="*/ 42 w 54"/>
                <a:gd name="T27" fmla="*/ 61 h 61"/>
                <a:gd name="T28" fmla="*/ 42 w 54"/>
                <a:gd name="T29" fmla="*/ 28 h 61"/>
                <a:gd name="T30" fmla="*/ 42 w 54"/>
                <a:gd name="T31" fmla="*/ 21 h 61"/>
                <a:gd name="T32" fmla="*/ 40 w 54"/>
                <a:gd name="T33" fmla="*/ 15 h 61"/>
                <a:gd name="T34" fmla="*/ 35 w 54"/>
                <a:gd name="T35" fmla="*/ 11 h 61"/>
                <a:gd name="T36" fmla="*/ 29 w 54"/>
                <a:gd name="T37" fmla="*/ 10 h 61"/>
                <a:gd name="T38" fmla="*/ 17 w 54"/>
                <a:gd name="T39" fmla="*/ 15 h 61"/>
                <a:gd name="T40" fmla="*/ 13 w 54"/>
                <a:gd name="T41" fmla="*/ 29 h 61"/>
                <a:gd name="T42" fmla="*/ 13 w 54"/>
                <a:gd name="T43" fmla="*/ 61 h 61"/>
                <a:gd name="T44" fmla="*/ 1 w 54"/>
                <a:gd name="T45" fmla="*/ 61 h 61"/>
                <a:gd name="T46" fmla="*/ 1 w 54"/>
                <a:gd name="T47" fmla="*/ 14 h 61"/>
                <a:gd name="T48" fmla="*/ 1 w 54"/>
                <a:gd name="T49" fmla="*/ 8 h 61"/>
                <a:gd name="T50" fmla="*/ 0 w 54"/>
                <a:gd name="T51" fmla="*/ 2 h 61"/>
                <a:gd name="T52" fmla="*/ 12 w 54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4" h="61">
                  <a:moveTo>
                    <a:pt x="12" y="2"/>
                  </a:moveTo>
                  <a:cubicBezTo>
                    <a:pt x="12" y="3"/>
                    <a:pt x="12" y="5"/>
                    <a:pt x="12" y="7"/>
                  </a:cubicBezTo>
                  <a:cubicBezTo>
                    <a:pt x="12" y="9"/>
                    <a:pt x="12" y="10"/>
                    <a:pt x="12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3" y="10"/>
                    <a:pt x="14" y="8"/>
                    <a:pt x="16" y="7"/>
                  </a:cubicBezTo>
                  <a:cubicBezTo>
                    <a:pt x="17" y="6"/>
                    <a:pt x="18" y="4"/>
                    <a:pt x="20" y="3"/>
                  </a:cubicBezTo>
                  <a:cubicBezTo>
                    <a:pt x="22" y="2"/>
                    <a:pt x="24" y="1"/>
                    <a:pt x="26" y="1"/>
                  </a:cubicBezTo>
                  <a:cubicBezTo>
                    <a:pt x="28" y="0"/>
                    <a:pt x="30" y="0"/>
                    <a:pt x="32" y="0"/>
                  </a:cubicBezTo>
                  <a:cubicBezTo>
                    <a:pt x="36" y="0"/>
                    <a:pt x="39" y="1"/>
                    <a:pt x="42" y="2"/>
                  </a:cubicBezTo>
                  <a:cubicBezTo>
                    <a:pt x="44" y="3"/>
                    <a:pt x="47" y="5"/>
                    <a:pt x="49" y="7"/>
                  </a:cubicBezTo>
                  <a:cubicBezTo>
                    <a:pt x="50" y="9"/>
                    <a:pt x="52" y="12"/>
                    <a:pt x="53" y="15"/>
                  </a:cubicBezTo>
                  <a:cubicBezTo>
                    <a:pt x="54" y="18"/>
                    <a:pt x="54" y="21"/>
                    <a:pt x="54" y="24"/>
                  </a:cubicBezTo>
                  <a:cubicBezTo>
                    <a:pt x="54" y="61"/>
                    <a:pt x="54" y="61"/>
                    <a:pt x="54" y="61"/>
                  </a:cubicBezTo>
                  <a:cubicBezTo>
                    <a:pt x="42" y="61"/>
                    <a:pt x="42" y="61"/>
                    <a:pt x="42" y="61"/>
                  </a:cubicBezTo>
                  <a:cubicBezTo>
                    <a:pt x="42" y="28"/>
                    <a:pt x="42" y="28"/>
                    <a:pt x="42" y="28"/>
                  </a:cubicBezTo>
                  <a:cubicBezTo>
                    <a:pt x="42" y="26"/>
                    <a:pt x="42" y="23"/>
                    <a:pt x="42" y="21"/>
                  </a:cubicBezTo>
                  <a:cubicBezTo>
                    <a:pt x="41" y="19"/>
                    <a:pt x="41" y="17"/>
                    <a:pt x="40" y="15"/>
                  </a:cubicBezTo>
                  <a:cubicBezTo>
                    <a:pt x="39" y="14"/>
                    <a:pt x="37" y="12"/>
                    <a:pt x="35" y="11"/>
                  </a:cubicBezTo>
                  <a:cubicBezTo>
                    <a:pt x="34" y="10"/>
                    <a:pt x="31" y="10"/>
                    <a:pt x="29" y="10"/>
                  </a:cubicBezTo>
                  <a:cubicBezTo>
                    <a:pt x="24" y="10"/>
                    <a:pt x="20" y="12"/>
                    <a:pt x="17" y="15"/>
                  </a:cubicBezTo>
                  <a:cubicBezTo>
                    <a:pt x="14" y="19"/>
                    <a:pt x="13" y="24"/>
                    <a:pt x="13" y="29"/>
                  </a:cubicBezTo>
                  <a:cubicBezTo>
                    <a:pt x="13" y="61"/>
                    <a:pt x="13" y="61"/>
                    <a:pt x="13" y="61"/>
                  </a:cubicBezTo>
                  <a:cubicBezTo>
                    <a:pt x="1" y="61"/>
                    <a:pt x="1" y="61"/>
                    <a:pt x="1" y="61"/>
                  </a:cubicBezTo>
                  <a:cubicBezTo>
                    <a:pt x="1" y="14"/>
                    <a:pt x="1" y="14"/>
                    <a:pt x="1" y="14"/>
                  </a:cubicBezTo>
                  <a:cubicBezTo>
                    <a:pt x="1" y="13"/>
                    <a:pt x="1" y="11"/>
                    <a:pt x="1" y="8"/>
                  </a:cubicBezTo>
                  <a:cubicBezTo>
                    <a:pt x="1" y="6"/>
                    <a:pt x="1" y="4"/>
                    <a:pt x="0" y="2"/>
                  </a:cubicBezTo>
                  <a:cubicBezTo>
                    <a:pt x="12" y="2"/>
                    <a:pt x="12" y="2"/>
                    <a:pt x="12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10480676" y="-684213"/>
              <a:ext cx="146050" cy="290513"/>
            </a:xfrm>
            <a:custGeom>
              <a:avLst/>
              <a:gdLst>
                <a:gd name="T0" fmla="*/ 39 w 39"/>
                <a:gd name="T1" fmla="*/ 26 h 77"/>
                <a:gd name="T2" fmla="*/ 23 w 39"/>
                <a:gd name="T3" fmla="*/ 26 h 77"/>
                <a:gd name="T4" fmla="*/ 23 w 39"/>
                <a:gd name="T5" fmla="*/ 57 h 77"/>
                <a:gd name="T6" fmla="*/ 25 w 39"/>
                <a:gd name="T7" fmla="*/ 65 h 77"/>
                <a:gd name="T8" fmla="*/ 31 w 39"/>
                <a:gd name="T9" fmla="*/ 67 h 77"/>
                <a:gd name="T10" fmla="*/ 35 w 39"/>
                <a:gd name="T11" fmla="*/ 67 h 77"/>
                <a:gd name="T12" fmla="*/ 38 w 39"/>
                <a:gd name="T13" fmla="*/ 66 h 77"/>
                <a:gd name="T14" fmla="*/ 39 w 39"/>
                <a:gd name="T15" fmla="*/ 75 h 77"/>
                <a:gd name="T16" fmla="*/ 34 w 39"/>
                <a:gd name="T17" fmla="*/ 77 h 77"/>
                <a:gd name="T18" fmla="*/ 29 w 39"/>
                <a:gd name="T19" fmla="*/ 77 h 77"/>
                <a:gd name="T20" fmla="*/ 16 w 39"/>
                <a:gd name="T21" fmla="*/ 72 h 77"/>
                <a:gd name="T22" fmla="*/ 11 w 39"/>
                <a:gd name="T23" fmla="*/ 59 h 77"/>
                <a:gd name="T24" fmla="*/ 11 w 39"/>
                <a:gd name="T25" fmla="*/ 26 h 77"/>
                <a:gd name="T26" fmla="*/ 0 w 39"/>
                <a:gd name="T27" fmla="*/ 26 h 77"/>
                <a:gd name="T28" fmla="*/ 0 w 39"/>
                <a:gd name="T29" fmla="*/ 17 h 77"/>
                <a:gd name="T30" fmla="*/ 11 w 39"/>
                <a:gd name="T31" fmla="*/ 17 h 77"/>
                <a:gd name="T32" fmla="*/ 11 w 39"/>
                <a:gd name="T33" fmla="*/ 0 h 77"/>
                <a:gd name="T34" fmla="*/ 23 w 39"/>
                <a:gd name="T35" fmla="*/ 0 h 77"/>
                <a:gd name="T36" fmla="*/ 23 w 39"/>
                <a:gd name="T37" fmla="*/ 17 h 77"/>
                <a:gd name="T38" fmla="*/ 39 w 39"/>
                <a:gd name="T39" fmla="*/ 17 h 77"/>
                <a:gd name="T40" fmla="*/ 39 w 39"/>
                <a:gd name="T41" fmla="*/ 26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" h="77">
                  <a:moveTo>
                    <a:pt x="39" y="26"/>
                  </a:moveTo>
                  <a:cubicBezTo>
                    <a:pt x="23" y="26"/>
                    <a:pt x="23" y="26"/>
                    <a:pt x="23" y="26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23" y="61"/>
                    <a:pt x="24" y="63"/>
                    <a:pt x="25" y="65"/>
                  </a:cubicBezTo>
                  <a:cubicBezTo>
                    <a:pt x="26" y="66"/>
                    <a:pt x="28" y="67"/>
                    <a:pt x="31" y="67"/>
                  </a:cubicBezTo>
                  <a:cubicBezTo>
                    <a:pt x="32" y="67"/>
                    <a:pt x="34" y="67"/>
                    <a:pt x="35" y="67"/>
                  </a:cubicBezTo>
                  <a:cubicBezTo>
                    <a:pt x="36" y="67"/>
                    <a:pt x="37" y="66"/>
                    <a:pt x="38" y="66"/>
                  </a:cubicBezTo>
                  <a:cubicBezTo>
                    <a:pt x="39" y="75"/>
                    <a:pt x="39" y="75"/>
                    <a:pt x="39" y="75"/>
                  </a:cubicBezTo>
                  <a:cubicBezTo>
                    <a:pt x="37" y="76"/>
                    <a:pt x="36" y="76"/>
                    <a:pt x="34" y="77"/>
                  </a:cubicBezTo>
                  <a:cubicBezTo>
                    <a:pt x="32" y="77"/>
                    <a:pt x="30" y="77"/>
                    <a:pt x="29" y="77"/>
                  </a:cubicBezTo>
                  <a:cubicBezTo>
                    <a:pt x="23" y="77"/>
                    <a:pt x="19" y="76"/>
                    <a:pt x="16" y="72"/>
                  </a:cubicBezTo>
                  <a:cubicBezTo>
                    <a:pt x="13" y="69"/>
                    <a:pt x="11" y="65"/>
                    <a:pt x="11" y="59"/>
                  </a:cubicBezTo>
                  <a:cubicBezTo>
                    <a:pt x="11" y="26"/>
                    <a:pt x="11" y="26"/>
                    <a:pt x="11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11" y="17"/>
                    <a:pt x="11" y="17"/>
                    <a:pt x="11" y="17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17"/>
                    <a:pt x="23" y="17"/>
                    <a:pt x="23" y="17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26"/>
                    <a:pt x="39" y="26"/>
                    <a:pt x="39" y="26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53"/>
            <p:cNvSpPr>
              <a:spLocks noEditPoints="1"/>
            </p:cNvSpPr>
            <p:nvPr userDrawn="1"/>
          </p:nvSpPr>
          <p:spPr bwMode="auto">
            <a:xfrm>
              <a:off x="10660063" y="-733425"/>
              <a:ext cx="60325" cy="334963"/>
            </a:xfrm>
            <a:custGeom>
              <a:avLst/>
              <a:gdLst>
                <a:gd name="T0" fmla="*/ 14 w 16"/>
                <a:gd name="T1" fmla="*/ 89 h 89"/>
                <a:gd name="T2" fmla="*/ 2 w 16"/>
                <a:gd name="T3" fmla="*/ 89 h 89"/>
                <a:gd name="T4" fmla="*/ 2 w 16"/>
                <a:gd name="T5" fmla="*/ 30 h 89"/>
                <a:gd name="T6" fmla="*/ 14 w 16"/>
                <a:gd name="T7" fmla="*/ 30 h 89"/>
                <a:gd name="T8" fmla="*/ 14 w 16"/>
                <a:gd name="T9" fmla="*/ 89 h 89"/>
                <a:gd name="T10" fmla="*/ 16 w 16"/>
                <a:gd name="T11" fmla="*/ 8 h 89"/>
                <a:gd name="T12" fmla="*/ 14 w 16"/>
                <a:gd name="T13" fmla="*/ 14 h 89"/>
                <a:gd name="T14" fmla="*/ 8 w 16"/>
                <a:gd name="T15" fmla="*/ 16 h 89"/>
                <a:gd name="T16" fmla="*/ 2 w 16"/>
                <a:gd name="T17" fmla="*/ 13 h 89"/>
                <a:gd name="T18" fmla="*/ 0 w 16"/>
                <a:gd name="T19" fmla="*/ 8 h 89"/>
                <a:gd name="T20" fmla="*/ 2 w 16"/>
                <a:gd name="T21" fmla="*/ 3 h 89"/>
                <a:gd name="T22" fmla="*/ 8 w 16"/>
                <a:gd name="T23" fmla="*/ 0 h 89"/>
                <a:gd name="T24" fmla="*/ 14 w 16"/>
                <a:gd name="T25" fmla="*/ 3 h 89"/>
                <a:gd name="T26" fmla="*/ 16 w 16"/>
                <a:gd name="T27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6" h="89">
                  <a:moveTo>
                    <a:pt x="14" y="89"/>
                  </a:moveTo>
                  <a:cubicBezTo>
                    <a:pt x="2" y="89"/>
                    <a:pt x="2" y="89"/>
                    <a:pt x="2" y="89"/>
                  </a:cubicBezTo>
                  <a:cubicBezTo>
                    <a:pt x="2" y="30"/>
                    <a:pt x="2" y="30"/>
                    <a:pt x="2" y="30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14" y="89"/>
                    <a:pt x="14" y="89"/>
                    <a:pt x="14" y="89"/>
                  </a:cubicBezTo>
                  <a:close/>
                  <a:moveTo>
                    <a:pt x="16" y="8"/>
                  </a:moveTo>
                  <a:cubicBezTo>
                    <a:pt x="16" y="10"/>
                    <a:pt x="15" y="12"/>
                    <a:pt x="14" y="14"/>
                  </a:cubicBezTo>
                  <a:cubicBezTo>
                    <a:pt x="12" y="15"/>
                    <a:pt x="10" y="16"/>
                    <a:pt x="8" y="16"/>
                  </a:cubicBezTo>
                  <a:cubicBezTo>
                    <a:pt x="6" y="16"/>
                    <a:pt x="4" y="15"/>
                    <a:pt x="2" y="13"/>
                  </a:cubicBezTo>
                  <a:cubicBezTo>
                    <a:pt x="1" y="12"/>
                    <a:pt x="0" y="10"/>
                    <a:pt x="0" y="8"/>
                  </a:cubicBezTo>
                  <a:cubicBezTo>
                    <a:pt x="0" y="6"/>
                    <a:pt x="1" y="4"/>
                    <a:pt x="2" y="3"/>
                  </a:cubicBezTo>
                  <a:cubicBezTo>
                    <a:pt x="4" y="1"/>
                    <a:pt x="6" y="0"/>
                    <a:pt x="8" y="0"/>
                  </a:cubicBezTo>
                  <a:cubicBezTo>
                    <a:pt x="10" y="0"/>
                    <a:pt x="12" y="1"/>
                    <a:pt x="14" y="3"/>
                  </a:cubicBezTo>
                  <a:cubicBezTo>
                    <a:pt x="15" y="4"/>
                    <a:pt x="16" y="6"/>
                    <a:pt x="16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10788651" y="-755650"/>
              <a:ext cx="44450" cy="357188"/>
            </a:xfrm>
            <a:custGeom>
              <a:avLst/>
              <a:gdLst>
                <a:gd name="T0" fmla="*/ 28 w 28"/>
                <a:gd name="T1" fmla="*/ 225 h 225"/>
                <a:gd name="T2" fmla="*/ 0 w 28"/>
                <a:gd name="T3" fmla="*/ 225 h 225"/>
                <a:gd name="T4" fmla="*/ 0 w 28"/>
                <a:gd name="T5" fmla="*/ 0 h 225"/>
                <a:gd name="T6" fmla="*/ 28 w 28"/>
                <a:gd name="T7" fmla="*/ 0 h 225"/>
                <a:gd name="T8" fmla="*/ 28 w 28"/>
                <a:gd name="T9" fmla="*/ 225 h 225"/>
                <a:gd name="T10" fmla="*/ 28 w 28"/>
                <a:gd name="T11" fmla="*/ 225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8" h="225">
                  <a:moveTo>
                    <a:pt x="28" y="225"/>
                  </a:moveTo>
                  <a:lnTo>
                    <a:pt x="0" y="225"/>
                  </a:lnTo>
                  <a:lnTo>
                    <a:pt x="0" y="0"/>
                  </a:lnTo>
                  <a:lnTo>
                    <a:pt x="28" y="0"/>
                  </a:lnTo>
                  <a:lnTo>
                    <a:pt x="28" y="225"/>
                  </a:lnTo>
                  <a:lnTo>
                    <a:pt x="28" y="225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55"/>
            <p:cNvSpPr>
              <a:spLocks noEditPoints="1"/>
            </p:cNvSpPr>
            <p:nvPr userDrawn="1"/>
          </p:nvSpPr>
          <p:spPr bwMode="auto">
            <a:xfrm>
              <a:off x="10885488" y="-627063"/>
              <a:ext cx="222250" cy="236538"/>
            </a:xfrm>
            <a:custGeom>
              <a:avLst/>
              <a:gdLst>
                <a:gd name="T0" fmla="*/ 47 w 59"/>
                <a:gd name="T1" fmla="*/ 26 h 63"/>
                <a:gd name="T2" fmla="*/ 46 w 59"/>
                <a:gd name="T3" fmla="*/ 19 h 63"/>
                <a:gd name="T4" fmla="*/ 43 w 59"/>
                <a:gd name="T5" fmla="*/ 14 h 63"/>
                <a:gd name="T6" fmla="*/ 38 w 59"/>
                <a:gd name="T7" fmla="*/ 11 h 63"/>
                <a:gd name="T8" fmla="*/ 31 w 59"/>
                <a:gd name="T9" fmla="*/ 9 h 63"/>
                <a:gd name="T10" fmla="*/ 24 w 59"/>
                <a:gd name="T11" fmla="*/ 11 h 63"/>
                <a:gd name="T12" fmla="*/ 18 w 59"/>
                <a:gd name="T13" fmla="*/ 14 h 63"/>
                <a:gd name="T14" fmla="*/ 14 w 59"/>
                <a:gd name="T15" fmla="*/ 19 h 63"/>
                <a:gd name="T16" fmla="*/ 12 w 59"/>
                <a:gd name="T17" fmla="*/ 26 h 63"/>
                <a:gd name="T18" fmla="*/ 47 w 59"/>
                <a:gd name="T19" fmla="*/ 26 h 63"/>
                <a:gd name="T20" fmla="*/ 59 w 59"/>
                <a:gd name="T21" fmla="*/ 31 h 63"/>
                <a:gd name="T22" fmla="*/ 59 w 59"/>
                <a:gd name="T23" fmla="*/ 33 h 63"/>
                <a:gd name="T24" fmla="*/ 59 w 59"/>
                <a:gd name="T25" fmla="*/ 35 h 63"/>
                <a:gd name="T26" fmla="*/ 12 w 59"/>
                <a:gd name="T27" fmla="*/ 35 h 63"/>
                <a:gd name="T28" fmla="*/ 14 w 59"/>
                <a:gd name="T29" fmla="*/ 42 h 63"/>
                <a:gd name="T30" fmla="*/ 18 w 59"/>
                <a:gd name="T31" fmla="*/ 48 h 63"/>
                <a:gd name="T32" fmla="*/ 24 w 59"/>
                <a:gd name="T33" fmla="*/ 51 h 63"/>
                <a:gd name="T34" fmla="*/ 31 w 59"/>
                <a:gd name="T35" fmla="*/ 53 h 63"/>
                <a:gd name="T36" fmla="*/ 42 w 59"/>
                <a:gd name="T37" fmla="*/ 50 h 63"/>
                <a:gd name="T38" fmla="*/ 49 w 59"/>
                <a:gd name="T39" fmla="*/ 44 h 63"/>
                <a:gd name="T40" fmla="*/ 57 w 59"/>
                <a:gd name="T41" fmla="*/ 50 h 63"/>
                <a:gd name="T42" fmla="*/ 46 w 59"/>
                <a:gd name="T43" fmla="*/ 60 h 63"/>
                <a:gd name="T44" fmla="*/ 31 w 59"/>
                <a:gd name="T45" fmla="*/ 63 h 63"/>
                <a:gd name="T46" fmla="*/ 19 w 59"/>
                <a:gd name="T47" fmla="*/ 60 h 63"/>
                <a:gd name="T48" fmla="*/ 9 w 59"/>
                <a:gd name="T49" fmla="*/ 54 h 63"/>
                <a:gd name="T50" fmla="*/ 2 w 59"/>
                <a:gd name="T51" fmla="*/ 44 h 63"/>
                <a:gd name="T52" fmla="*/ 0 w 59"/>
                <a:gd name="T53" fmla="*/ 31 h 63"/>
                <a:gd name="T54" fmla="*/ 2 w 59"/>
                <a:gd name="T55" fmla="*/ 19 h 63"/>
                <a:gd name="T56" fmla="*/ 9 w 59"/>
                <a:gd name="T57" fmla="*/ 9 h 63"/>
                <a:gd name="T58" fmla="*/ 18 w 59"/>
                <a:gd name="T59" fmla="*/ 2 h 63"/>
                <a:gd name="T60" fmla="*/ 31 w 59"/>
                <a:gd name="T61" fmla="*/ 0 h 63"/>
                <a:gd name="T62" fmla="*/ 43 w 59"/>
                <a:gd name="T63" fmla="*/ 2 h 63"/>
                <a:gd name="T64" fmla="*/ 52 w 59"/>
                <a:gd name="T65" fmla="*/ 8 h 63"/>
                <a:gd name="T66" fmla="*/ 57 w 59"/>
                <a:gd name="T67" fmla="*/ 18 h 63"/>
                <a:gd name="T68" fmla="*/ 59 w 59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5" y="17"/>
                    <a:pt x="44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3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19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59" y="31"/>
                  </a:moveTo>
                  <a:cubicBezTo>
                    <a:pt x="59" y="32"/>
                    <a:pt x="59" y="32"/>
                    <a:pt x="59" y="33"/>
                  </a:cubicBezTo>
                  <a:cubicBezTo>
                    <a:pt x="59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1" y="6"/>
                    <a:pt x="15" y="4"/>
                    <a:pt x="18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7" y="18"/>
                  </a:cubicBezTo>
                  <a:cubicBezTo>
                    <a:pt x="59" y="22"/>
                    <a:pt x="59" y="26"/>
                    <a:pt x="59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56"/>
            <p:cNvSpPr>
              <a:spLocks/>
            </p:cNvSpPr>
            <p:nvPr userDrawn="1"/>
          </p:nvSpPr>
          <p:spPr bwMode="auto">
            <a:xfrm>
              <a:off x="11141076" y="-627063"/>
              <a:ext cx="180975" cy="236538"/>
            </a:xfrm>
            <a:custGeom>
              <a:avLst/>
              <a:gdLst>
                <a:gd name="T0" fmla="*/ 39 w 48"/>
                <a:gd name="T1" fmla="*/ 17 h 63"/>
                <a:gd name="T2" fmla="*/ 34 w 48"/>
                <a:gd name="T3" fmla="*/ 11 h 63"/>
                <a:gd name="T4" fmla="*/ 25 w 48"/>
                <a:gd name="T5" fmla="*/ 9 h 63"/>
                <a:gd name="T6" fmla="*/ 21 w 48"/>
                <a:gd name="T7" fmla="*/ 10 h 63"/>
                <a:gd name="T8" fmla="*/ 18 w 48"/>
                <a:gd name="T9" fmla="*/ 11 h 63"/>
                <a:gd name="T10" fmla="*/ 15 w 48"/>
                <a:gd name="T11" fmla="*/ 13 h 63"/>
                <a:gd name="T12" fmla="*/ 14 w 48"/>
                <a:gd name="T13" fmla="*/ 17 h 63"/>
                <a:gd name="T14" fmla="*/ 18 w 48"/>
                <a:gd name="T15" fmla="*/ 23 h 63"/>
                <a:gd name="T16" fmla="*/ 28 w 48"/>
                <a:gd name="T17" fmla="*/ 26 h 63"/>
                <a:gd name="T18" fmla="*/ 36 w 48"/>
                <a:gd name="T19" fmla="*/ 28 h 63"/>
                <a:gd name="T20" fmla="*/ 42 w 48"/>
                <a:gd name="T21" fmla="*/ 32 h 63"/>
                <a:gd name="T22" fmla="*/ 46 w 48"/>
                <a:gd name="T23" fmla="*/ 37 h 63"/>
                <a:gd name="T24" fmla="*/ 48 w 48"/>
                <a:gd name="T25" fmla="*/ 44 h 63"/>
                <a:gd name="T26" fmla="*/ 46 w 48"/>
                <a:gd name="T27" fmla="*/ 52 h 63"/>
                <a:gd name="T28" fmla="*/ 41 w 48"/>
                <a:gd name="T29" fmla="*/ 58 h 63"/>
                <a:gd name="T30" fmla="*/ 33 w 48"/>
                <a:gd name="T31" fmla="*/ 62 h 63"/>
                <a:gd name="T32" fmla="*/ 24 w 48"/>
                <a:gd name="T33" fmla="*/ 63 h 63"/>
                <a:gd name="T34" fmla="*/ 11 w 48"/>
                <a:gd name="T35" fmla="*/ 60 h 63"/>
                <a:gd name="T36" fmla="*/ 0 w 48"/>
                <a:gd name="T37" fmla="*/ 52 h 63"/>
                <a:gd name="T38" fmla="*/ 9 w 48"/>
                <a:gd name="T39" fmla="*/ 45 h 63"/>
                <a:gd name="T40" fmla="*/ 15 w 48"/>
                <a:gd name="T41" fmla="*/ 51 h 63"/>
                <a:gd name="T42" fmla="*/ 24 w 48"/>
                <a:gd name="T43" fmla="*/ 53 h 63"/>
                <a:gd name="T44" fmla="*/ 29 w 48"/>
                <a:gd name="T45" fmla="*/ 53 h 63"/>
                <a:gd name="T46" fmla="*/ 33 w 48"/>
                <a:gd name="T47" fmla="*/ 51 h 63"/>
                <a:gd name="T48" fmla="*/ 35 w 48"/>
                <a:gd name="T49" fmla="*/ 49 h 63"/>
                <a:gd name="T50" fmla="*/ 36 w 48"/>
                <a:gd name="T51" fmla="*/ 45 h 63"/>
                <a:gd name="T52" fmla="*/ 32 w 48"/>
                <a:gd name="T53" fmla="*/ 38 h 63"/>
                <a:gd name="T54" fmla="*/ 21 w 48"/>
                <a:gd name="T55" fmla="*/ 35 h 63"/>
                <a:gd name="T56" fmla="*/ 15 w 48"/>
                <a:gd name="T57" fmla="*/ 33 h 63"/>
                <a:gd name="T58" fmla="*/ 9 w 48"/>
                <a:gd name="T59" fmla="*/ 30 h 63"/>
                <a:gd name="T60" fmla="*/ 5 w 48"/>
                <a:gd name="T61" fmla="*/ 25 h 63"/>
                <a:gd name="T62" fmla="*/ 3 w 48"/>
                <a:gd name="T63" fmla="*/ 18 h 63"/>
                <a:gd name="T64" fmla="*/ 5 w 48"/>
                <a:gd name="T65" fmla="*/ 10 h 63"/>
                <a:gd name="T66" fmla="*/ 10 w 48"/>
                <a:gd name="T67" fmla="*/ 4 h 63"/>
                <a:gd name="T68" fmla="*/ 18 w 48"/>
                <a:gd name="T69" fmla="*/ 1 h 63"/>
                <a:gd name="T70" fmla="*/ 26 w 48"/>
                <a:gd name="T71" fmla="*/ 0 h 63"/>
                <a:gd name="T72" fmla="*/ 38 w 48"/>
                <a:gd name="T73" fmla="*/ 2 h 63"/>
                <a:gd name="T74" fmla="*/ 47 w 48"/>
                <a:gd name="T75" fmla="*/ 10 h 63"/>
                <a:gd name="T76" fmla="*/ 39 w 48"/>
                <a:gd name="T77" fmla="*/ 17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" h="63">
                  <a:moveTo>
                    <a:pt x="39" y="17"/>
                  </a:moveTo>
                  <a:cubicBezTo>
                    <a:pt x="38" y="14"/>
                    <a:pt x="36" y="13"/>
                    <a:pt x="34" y="11"/>
                  </a:cubicBezTo>
                  <a:cubicBezTo>
                    <a:pt x="31" y="10"/>
                    <a:pt x="28" y="9"/>
                    <a:pt x="25" y="9"/>
                  </a:cubicBezTo>
                  <a:cubicBezTo>
                    <a:pt x="24" y="9"/>
                    <a:pt x="23" y="9"/>
                    <a:pt x="21" y="10"/>
                  </a:cubicBezTo>
                  <a:cubicBezTo>
                    <a:pt x="20" y="10"/>
                    <a:pt x="19" y="10"/>
                    <a:pt x="18" y="11"/>
                  </a:cubicBezTo>
                  <a:cubicBezTo>
                    <a:pt x="17" y="12"/>
                    <a:pt x="16" y="13"/>
                    <a:pt x="15" y="13"/>
                  </a:cubicBezTo>
                  <a:cubicBezTo>
                    <a:pt x="15" y="14"/>
                    <a:pt x="14" y="16"/>
                    <a:pt x="14" y="17"/>
                  </a:cubicBezTo>
                  <a:cubicBezTo>
                    <a:pt x="14" y="20"/>
                    <a:pt x="16" y="21"/>
                    <a:pt x="18" y="23"/>
                  </a:cubicBezTo>
                  <a:cubicBezTo>
                    <a:pt x="20" y="24"/>
                    <a:pt x="23" y="25"/>
                    <a:pt x="28" y="26"/>
                  </a:cubicBezTo>
                  <a:cubicBezTo>
                    <a:pt x="31" y="27"/>
                    <a:pt x="33" y="27"/>
                    <a:pt x="36" y="28"/>
                  </a:cubicBezTo>
                  <a:cubicBezTo>
                    <a:pt x="38" y="29"/>
                    <a:pt x="40" y="30"/>
                    <a:pt x="42" y="32"/>
                  </a:cubicBezTo>
                  <a:cubicBezTo>
                    <a:pt x="44" y="33"/>
                    <a:pt x="45" y="35"/>
                    <a:pt x="46" y="37"/>
                  </a:cubicBezTo>
                  <a:cubicBezTo>
                    <a:pt x="47" y="39"/>
                    <a:pt x="48" y="41"/>
                    <a:pt x="48" y="44"/>
                  </a:cubicBezTo>
                  <a:cubicBezTo>
                    <a:pt x="48" y="47"/>
                    <a:pt x="47" y="50"/>
                    <a:pt x="46" y="52"/>
                  </a:cubicBezTo>
                  <a:cubicBezTo>
                    <a:pt x="45" y="55"/>
                    <a:pt x="43" y="57"/>
                    <a:pt x="41" y="58"/>
                  </a:cubicBezTo>
                  <a:cubicBezTo>
                    <a:pt x="38" y="60"/>
                    <a:pt x="36" y="61"/>
                    <a:pt x="33" y="62"/>
                  </a:cubicBezTo>
                  <a:cubicBezTo>
                    <a:pt x="30" y="62"/>
                    <a:pt x="27" y="63"/>
                    <a:pt x="24" y="63"/>
                  </a:cubicBezTo>
                  <a:cubicBezTo>
                    <a:pt x="20" y="63"/>
                    <a:pt x="15" y="62"/>
                    <a:pt x="11" y="60"/>
                  </a:cubicBezTo>
                  <a:cubicBezTo>
                    <a:pt x="7" y="58"/>
                    <a:pt x="3" y="56"/>
                    <a:pt x="0" y="52"/>
                  </a:cubicBezTo>
                  <a:cubicBezTo>
                    <a:pt x="9" y="45"/>
                    <a:pt x="9" y="45"/>
                    <a:pt x="9" y="45"/>
                  </a:cubicBezTo>
                  <a:cubicBezTo>
                    <a:pt x="10" y="47"/>
                    <a:pt x="12" y="49"/>
                    <a:pt x="15" y="51"/>
                  </a:cubicBezTo>
                  <a:cubicBezTo>
                    <a:pt x="18" y="52"/>
                    <a:pt x="21" y="53"/>
                    <a:pt x="24" y="53"/>
                  </a:cubicBezTo>
                  <a:cubicBezTo>
                    <a:pt x="26" y="53"/>
                    <a:pt x="27" y="53"/>
                    <a:pt x="29" y="53"/>
                  </a:cubicBezTo>
                  <a:cubicBezTo>
                    <a:pt x="30" y="52"/>
                    <a:pt x="31" y="52"/>
                    <a:pt x="33" y="51"/>
                  </a:cubicBezTo>
                  <a:cubicBezTo>
                    <a:pt x="34" y="51"/>
                    <a:pt x="35" y="50"/>
                    <a:pt x="35" y="49"/>
                  </a:cubicBezTo>
                  <a:cubicBezTo>
                    <a:pt x="36" y="48"/>
                    <a:pt x="36" y="46"/>
                    <a:pt x="36" y="45"/>
                  </a:cubicBezTo>
                  <a:cubicBezTo>
                    <a:pt x="36" y="42"/>
                    <a:pt x="35" y="40"/>
                    <a:pt x="32" y="38"/>
                  </a:cubicBezTo>
                  <a:cubicBezTo>
                    <a:pt x="30" y="37"/>
                    <a:pt x="26" y="36"/>
                    <a:pt x="21" y="35"/>
                  </a:cubicBezTo>
                  <a:cubicBezTo>
                    <a:pt x="19" y="34"/>
                    <a:pt x="17" y="34"/>
                    <a:pt x="15" y="33"/>
                  </a:cubicBezTo>
                  <a:cubicBezTo>
                    <a:pt x="13" y="32"/>
                    <a:pt x="11" y="31"/>
                    <a:pt x="9" y="30"/>
                  </a:cubicBezTo>
                  <a:cubicBezTo>
                    <a:pt x="7" y="29"/>
                    <a:pt x="6" y="27"/>
                    <a:pt x="5" y="25"/>
                  </a:cubicBezTo>
                  <a:cubicBezTo>
                    <a:pt x="4" y="23"/>
                    <a:pt x="3" y="21"/>
                    <a:pt x="3" y="18"/>
                  </a:cubicBezTo>
                  <a:cubicBezTo>
                    <a:pt x="3" y="15"/>
                    <a:pt x="4" y="12"/>
                    <a:pt x="5" y="10"/>
                  </a:cubicBezTo>
                  <a:cubicBezTo>
                    <a:pt x="7" y="8"/>
                    <a:pt x="8" y="6"/>
                    <a:pt x="10" y="4"/>
                  </a:cubicBezTo>
                  <a:cubicBezTo>
                    <a:pt x="13" y="3"/>
                    <a:pt x="15" y="2"/>
                    <a:pt x="18" y="1"/>
                  </a:cubicBezTo>
                  <a:cubicBezTo>
                    <a:pt x="20" y="0"/>
                    <a:pt x="23" y="0"/>
                    <a:pt x="26" y="0"/>
                  </a:cubicBezTo>
                  <a:cubicBezTo>
                    <a:pt x="30" y="0"/>
                    <a:pt x="34" y="1"/>
                    <a:pt x="38" y="2"/>
                  </a:cubicBezTo>
                  <a:cubicBezTo>
                    <a:pt x="42" y="4"/>
                    <a:pt x="45" y="7"/>
                    <a:pt x="47" y="10"/>
                  </a:cubicBezTo>
                  <a:cubicBezTo>
                    <a:pt x="39" y="17"/>
                    <a:pt x="39" y="17"/>
                    <a:pt x="39" y="17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57"/>
            <p:cNvSpPr>
              <a:spLocks noEditPoints="1"/>
            </p:cNvSpPr>
            <p:nvPr userDrawn="1"/>
          </p:nvSpPr>
          <p:spPr bwMode="auto">
            <a:xfrm>
              <a:off x="11476038" y="-627063"/>
              <a:ext cx="198438" cy="236538"/>
            </a:xfrm>
            <a:custGeom>
              <a:avLst/>
              <a:gdLst>
                <a:gd name="T0" fmla="*/ 38 w 53"/>
                <a:gd name="T1" fmla="*/ 33 h 63"/>
                <a:gd name="T2" fmla="*/ 29 w 53"/>
                <a:gd name="T3" fmla="*/ 33 h 63"/>
                <a:gd name="T4" fmla="*/ 21 w 53"/>
                <a:gd name="T5" fmla="*/ 35 h 63"/>
                <a:gd name="T6" fmla="*/ 14 w 53"/>
                <a:gd name="T7" fmla="*/ 38 h 63"/>
                <a:gd name="T8" fmla="*/ 12 w 53"/>
                <a:gd name="T9" fmla="*/ 44 h 63"/>
                <a:gd name="T10" fmla="*/ 13 w 53"/>
                <a:gd name="T11" fmla="*/ 48 h 63"/>
                <a:gd name="T12" fmla="*/ 16 w 53"/>
                <a:gd name="T13" fmla="*/ 51 h 63"/>
                <a:gd name="T14" fmla="*/ 20 w 53"/>
                <a:gd name="T15" fmla="*/ 53 h 63"/>
                <a:gd name="T16" fmla="*/ 24 w 53"/>
                <a:gd name="T17" fmla="*/ 53 h 63"/>
                <a:gd name="T18" fmla="*/ 37 w 53"/>
                <a:gd name="T19" fmla="*/ 48 h 63"/>
                <a:gd name="T20" fmla="*/ 41 w 53"/>
                <a:gd name="T21" fmla="*/ 36 h 63"/>
                <a:gd name="T22" fmla="*/ 41 w 53"/>
                <a:gd name="T23" fmla="*/ 33 h 63"/>
                <a:gd name="T24" fmla="*/ 38 w 53"/>
                <a:gd name="T25" fmla="*/ 33 h 63"/>
                <a:gd name="T26" fmla="*/ 41 w 53"/>
                <a:gd name="T27" fmla="*/ 23 h 63"/>
                <a:gd name="T28" fmla="*/ 37 w 53"/>
                <a:gd name="T29" fmla="*/ 13 h 63"/>
                <a:gd name="T30" fmla="*/ 27 w 53"/>
                <a:gd name="T31" fmla="*/ 10 h 63"/>
                <a:gd name="T32" fmla="*/ 17 w 53"/>
                <a:gd name="T33" fmla="*/ 11 h 63"/>
                <a:gd name="T34" fmla="*/ 10 w 53"/>
                <a:gd name="T35" fmla="*/ 16 h 63"/>
                <a:gd name="T36" fmla="*/ 3 w 53"/>
                <a:gd name="T37" fmla="*/ 9 h 63"/>
                <a:gd name="T38" fmla="*/ 14 w 53"/>
                <a:gd name="T39" fmla="*/ 2 h 63"/>
                <a:gd name="T40" fmla="*/ 28 w 53"/>
                <a:gd name="T41" fmla="*/ 0 h 63"/>
                <a:gd name="T42" fmla="*/ 39 w 53"/>
                <a:gd name="T43" fmla="*/ 2 h 63"/>
                <a:gd name="T44" fmla="*/ 47 w 53"/>
                <a:gd name="T45" fmla="*/ 7 h 63"/>
                <a:gd name="T46" fmla="*/ 51 w 53"/>
                <a:gd name="T47" fmla="*/ 14 h 63"/>
                <a:gd name="T48" fmla="*/ 53 w 53"/>
                <a:gd name="T49" fmla="*/ 23 h 63"/>
                <a:gd name="T50" fmla="*/ 53 w 53"/>
                <a:gd name="T51" fmla="*/ 49 h 63"/>
                <a:gd name="T52" fmla="*/ 53 w 53"/>
                <a:gd name="T53" fmla="*/ 56 h 63"/>
                <a:gd name="T54" fmla="*/ 53 w 53"/>
                <a:gd name="T55" fmla="*/ 61 h 63"/>
                <a:gd name="T56" fmla="*/ 43 w 53"/>
                <a:gd name="T57" fmla="*/ 61 h 63"/>
                <a:gd name="T58" fmla="*/ 42 w 53"/>
                <a:gd name="T59" fmla="*/ 53 h 63"/>
                <a:gd name="T60" fmla="*/ 41 w 53"/>
                <a:gd name="T61" fmla="*/ 53 h 63"/>
                <a:gd name="T62" fmla="*/ 33 w 53"/>
                <a:gd name="T63" fmla="*/ 60 h 63"/>
                <a:gd name="T64" fmla="*/ 21 w 53"/>
                <a:gd name="T65" fmla="*/ 63 h 63"/>
                <a:gd name="T66" fmla="*/ 14 w 53"/>
                <a:gd name="T67" fmla="*/ 62 h 63"/>
                <a:gd name="T68" fmla="*/ 7 w 53"/>
                <a:gd name="T69" fmla="*/ 59 h 63"/>
                <a:gd name="T70" fmla="*/ 2 w 53"/>
                <a:gd name="T71" fmla="*/ 53 h 63"/>
                <a:gd name="T72" fmla="*/ 0 w 53"/>
                <a:gd name="T73" fmla="*/ 44 h 63"/>
                <a:gd name="T74" fmla="*/ 3 w 53"/>
                <a:gd name="T75" fmla="*/ 34 h 63"/>
                <a:gd name="T76" fmla="*/ 13 w 53"/>
                <a:gd name="T77" fmla="*/ 28 h 63"/>
                <a:gd name="T78" fmla="*/ 26 w 53"/>
                <a:gd name="T79" fmla="*/ 25 h 63"/>
                <a:gd name="T80" fmla="*/ 41 w 53"/>
                <a:gd name="T81" fmla="*/ 24 h 63"/>
                <a:gd name="T82" fmla="*/ 41 w 53"/>
                <a:gd name="T83" fmla="*/ 2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3" h="63">
                  <a:moveTo>
                    <a:pt x="38" y="33"/>
                  </a:moveTo>
                  <a:cubicBezTo>
                    <a:pt x="35" y="33"/>
                    <a:pt x="32" y="33"/>
                    <a:pt x="29" y="33"/>
                  </a:cubicBezTo>
                  <a:cubicBezTo>
                    <a:pt x="26" y="33"/>
                    <a:pt x="23" y="34"/>
                    <a:pt x="21" y="35"/>
                  </a:cubicBezTo>
                  <a:cubicBezTo>
                    <a:pt x="18" y="35"/>
                    <a:pt x="16" y="37"/>
                    <a:pt x="14" y="38"/>
                  </a:cubicBezTo>
                  <a:cubicBezTo>
                    <a:pt x="13" y="40"/>
                    <a:pt x="12" y="42"/>
                    <a:pt x="12" y="44"/>
                  </a:cubicBezTo>
                  <a:cubicBezTo>
                    <a:pt x="12" y="46"/>
                    <a:pt x="12" y="47"/>
                    <a:pt x="13" y="48"/>
                  </a:cubicBezTo>
                  <a:cubicBezTo>
                    <a:pt x="14" y="50"/>
                    <a:pt x="15" y="51"/>
                    <a:pt x="16" y="51"/>
                  </a:cubicBezTo>
                  <a:cubicBezTo>
                    <a:pt x="17" y="52"/>
                    <a:pt x="18" y="53"/>
                    <a:pt x="20" y="53"/>
                  </a:cubicBezTo>
                  <a:cubicBezTo>
                    <a:pt x="21" y="53"/>
                    <a:pt x="23" y="53"/>
                    <a:pt x="24" y="53"/>
                  </a:cubicBezTo>
                  <a:cubicBezTo>
                    <a:pt x="30" y="53"/>
                    <a:pt x="34" y="52"/>
                    <a:pt x="37" y="48"/>
                  </a:cubicBezTo>
                  <a:cubicBezTo>
                    <a:pt x="40" y="45"/>
                    <a:pt x="41" y="41"/>
                    <a:pt x="41" y="36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38" y="33"/>
                    <a:pt x="38" y="33"/>
                    <a:pt x="38" y="33"/>
                  </a:cubicBezTo>
                  <a:close/>
                  <a:moveTo>
                    <a:pt x="41" y="23"/>
                  </a:moveTo>
                  <a:cubicBezTo>
                    <a:pt x="41" y="18"/>
                    <a:pt x="40" y="15"/>
                    <a:pt x="37" y="13"/>
                  </a:cubicBezTo>
                  <a:cubicBezTo>
                    <a:pt x="35" y="11"/>
                    <a:pt x="31" y="10"/>
                    <a:pt x="27" y="10"/>
                  </a:cubicBezTo>
                  <a:cubicBezTo>
                    <a:pt x="23" y="10"/>
                    <a:pt x="20" y="10"/>
                    <a:pt x="17" y="11"/>
                  </a:cubicBezTo>
                  <a:cubicBezTo>
                    <a:pt x="14" y="13"/>
                    <a:pt x="12" y="14"/>
                    <a:pt x="10" y="16"/>
                  </a:cubicBezTo>
                  <a:cubicBezTo>
                    <a:pt x="3" y="9"/>
                    <a:pt x="3" y="9"/>
                    <a:pt x="3" y="9"/>
                  </a:cubicBezTo>
                  <a:cubicBezTo>
                    <a:pt x="6" y="6"/>
                    <a:pt x="10" y="4"/>
                    <a:pt x="14" y="2"/>
                  </a:cubicBezTo>
                  <a:cubicBezTo>
                    <a:pt x="18" y="1"/>
                    <a:pt x="23" y="0"/>
                    <a:pt x="28" y="0"/>
                  </a:cubicBezTo>
                  <a:cubicBezTo>
                    <a:pt x="32" y="0"/>
                    <a:pt x="36" y="1"/>
                    <a:pt x="39" y="2"/>
                  </a:cubicBezTo>
                  <a:cubicBezTo>
                    <a:pt x="42" y="3"/>
                    <a:pt x="45" y="5"/>
                    <a:pt x="47" y="7"/>
                  </a:cubicBezTo>
                  <a:cubicBezTo>
                    <a:pt x="49" y="9"/>
                    <a:pt x="50" y="11"/>
                    <a:pt x="51" y="14"/>
                  </a:cubicBezTo>
                  <a:cubicBezTo>
                    <a:pt x="52" y="17"/>
                    <a:pt x="53" y="20"/>
                    <a:pt x="53" y="23"/>
                  </a:cubicBezTo>
                  <a:cubicBezTo>
                    <a:pt x="53" y="49"/>
                    <a:pt x="53" y="49"/>
                    <a:pt x="53" y="49"/>
                  </a:cubicBezTo>
                  <a:cubicBezTo>
                    <a:pt x="53" y="51"/>
                    <a:pt x="53" y="53"/>
                    <a:pt x="53" y="56"/>
                  </a:cubicBezTo>
                  <a:cubicBezTo>
                    <a:pt x="53" y="58"/>
                    <a:pt x="53" y="60"/>
                    <a:pt x="53" y="61"/>
                  </a:cubicBezTo>
                  <a:cubicBezTo>
                    <a:pt x="43" y="61"/>
                    <a:pt x="43" y="61"/>
                    <a:pt x="43" y="61"/>
                  </a:cubicBezTo>
                  <a:cubicBezTo>
                    <a:pt x="42" y="58"/>
                    <a:pt x="42" y="55"/>
                    <a:pt x="42" y="53"/>
                  </a:cubicBezTo>
                  <a:cubicBezTo>
                    <a:pt x="41" y="53"/>
                    <a:pt x="41" y="53"/>
                    <a:pt x="41" y="53"/>
                  </a:cubicBezTo>
                  <a:cubicBezTo>
                    <a:pt x="39" y="56"/>
                    <a:pt x="36" y="58"/>
                    <a:pt x="33" y="60"/>
                  </a:cubicBezTo>
                  <a:cubicBezTo>
                    <a:pt x="30" y="62"/>
                    <a:pt x="26" y="63"/>
                    <a:pt x="21" y="63"/>
                  </a:cubicBezTo>
                  <a:cubicBezTo>
                    <a:pt x="19" y="63"/>
                    <a:pt x="17" y="62"/>
                    <a:pt x="14" y="62"/>
                  </a:cubicBezTo>
                  <a:cubicBezTo>
                    <a:pt x="12" y="61"/>
                    <a:pt x="9" y="60"/>
                    <a:pt x="7" y="59"/>
                  </a:cubicBezTo>
                  <a:cubicBezTo>
                    <a:pt x="5" y="57"/>
                    <a:pt x="3" y="55"/>
                    <a:pt x="2" y="53"/>
                  </a:cubicBezTo>
                  <a:cubicBezTo>
                    <a:pt x="1" y="51"/>
                    <a:pt x="0" y="48"/>
                    <a:pt x="0" y="44"/>
                  </a:cubicBezTo>
                  <a:cubicBezTo>
                    <a:pt x="0" y="40"/>
                    <a:pt x="1" y="36"/>
                    <a:pt x="3" y="34"/>
                  </a:cubicBezTo>
                  <a:cubicBezTo>
                    <a:pt x="6" y="31"/>
                    <a:pt x="9" y="29"/>
                    <a:pt x="13" y="28"/>
                  </a:cubicBezTo>
                  <a:cubicBezTo>
                    <a:pt x="17" y="26"/>
                    <a:pt x="21" y="25"/>
                    <a:pt x="26" y="25"/>
                  </a:cubicBezTo>
                  <a:cubicBezTo>
                    <a:pt x="31" y="24"/>
                    <a:pt x="36" y="24"/>
                    <a:pt x="41" y="24"/>
                  </a:cubicBezTo>
                  <a:cubicBezTo>
                    <a:pt x="41" y="23"/>
                    <a:pt x="41" y="23"/>
                    <a:pt x="41" y="23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8"/>
            <p:cNvSpPr>
              <a:spLocks/>
            </p:cNvSpPr>
            <p:nvPr userDrawn="1"/>
          </p:nvSpPr>
          <p:spPr bwMode="auto">
            <a:xfrm>
              <a:off x="11734801" y="-627063"/>
              <a:ext cx="131763" cy="228600"/>
            </a:xfrm>
            <a:custGeom>
              <a:avLst/>
              <a:gdLst>
                <a:gd name="T0" fmla="*/ 0 w 35"/>
                <a:gd name="T1" fmla="*/ 8 h 61"/>
                <a:gd name="T2" fmla="*/ 0 w 35"/>
                <a:gd name="T3" fmla="*/ 2 h 61"/>
                <a:gd name="T4" fmla="*/ 11 w 35"/>
                <a:gd name="T5" fmla="*/ 2 h 61"/>
                <a:gd name="T6" fmla="*/ 11 w 35"/>
                <a:gd name="T7" fmla="*/ 7 h 61"/>
                <a:gd name="T8" fmla="*/ 11 w 35"/>
                <a:gd name="T9" fmla="*/ 12 h 61"/>
                <a:gd name="T10" fmla="*/ 12 w 35"/>
                <a:gd name="T11" fmla="*/ 12 h 61"/>
                <a:gd name="T12" fmla="*/ 19 w 35"/>
                <a:gd name="T13" fmla="*/ 3 h 61"/>
                <a:gd name="T14" fmla="*/ 30 w 35"/>
                <a:gd name="T15" fmla="*/ 0 h 61"/>
                <a:gd name="T16" fmla="*/ 35 w 35"/>
                <a:gd name="T17" fmla="*/ 0 h 61"/>
                <a:gd name="T18" fmla="*/ 34 w 35"/>
                <a:gd name="T19" fmla="*/ 11 h 61"/>
                <a:gd name="T20" fmla="*/ 29 w 35"/>
                <a:gd name="T21" fmla="*/ 11 h 61"/>
                <a:gd name="T22" fmla="*/ 21 w 35"/>
                <a:gd name="T23" fmla="*/ 12 h 61"/>
                <a:gd name="T24" fmla="*/ 16 w 35"/>
                <a:gd name="T25" fmla="*/ 17 h 61"/>
                <a:gd name="T26" fmla="*/ 13 w 35"/>
                <a:gd name="T27" fmla="*/ 23 h 61"/>
                <a:gd name="T28" fmla="*/ 12 w 35"/>
                <a:gd name="T29" fmla="*/ 30 h 61"/>
                <a:gd name="T30" fmla="*/ 12 w 35"/>
                <a:gd name="T31" fmla="*/ 61 h 61"/>
                <a:gd name="T32" fmla="*/ 0 w 35"/>
                <a:gd name="T33" fmla="*/ 61 h 61"/>
                <a:gd name="T34" fmla="*/ 0 w 35"/>
                <a:gd name="T35" fmla="*/ 14 h 61"/>
                <a:gd name="T36" fmla="*/ 0 w 35"/>
                <a:gd name="T37" fmla="*/ 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5" h="61">
                  <a:moveTo>
                    <a:pt x="0" y="8"/>
                  </a:move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3" y="8"/>
                    <a:pt x="16" y="5"/>
                    <a:pt x="19" y="3"/>
                  </a:cubicBezTo>
                  <a:cubicBezTo>
                    <a:pt x="22" y="1"/>
                    <a:pt x="26" y="0"/>
                    <a:pt x="30" y="0"/>
                  </a:cubicBezTo>
                  <a:cubicBezTo>
                    <a:pt x="32" y="0"/>
                    <a:pt x="33" y="0"/>
                    <a:pt x="35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2" y="11"/>
                    <a:pt x="31" y="11"/>
                    <a:pt x="29" y="11"/>
                  </a:cubicBezTo>
                  <a:cubicBezTo>
                    <a:pt x="26" y="11"/>
                    <a:pt x="23" y="11"/>
                    <a:pt x="21" y="12"/>
                  </a:cubicBezTo>
                  <a:cubicBezTo>
                    <a:pt x="19" y="13"/>
                    <a:pt x="17" y="15"/>
                    <a:pt x="16" y="17"/>
                  </a:cubicBezTo>
                  <a:cubicBezTo>
                    <a:pt x="15" y="18"/>
                    <a:pt x="14" y="20"/>
                    <a:pt x="13" y="23"/>
                  </a:cubicBezTo>
                  <a:cubicBezTo>
                    <a:pt x="12" y="25"/>
                    <a:pt x="12" y="27"/>
                    <a:pt x="12" y="30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9"/>
            <p:cNvSpPr>
              <a:spLocks noEditPoints="1"/>
            </p:cNvSpPr>
            <p:nvPr userDrawn="1"/>
          </p:nvSpPr>
          <p:spPr bwMode="auto">
            <a:xfrm>
              <a:off x="11880851" y="-627063"/>
              <a:ext cx="225425" cy="236538"/>
            </a:xfrm>
            <a:custGeom>
              <a:avLst/>
              <a:gdLst>
                <a:gd name="T0" fmla="*/ 47 w 60"/>
                <a:gd name="T1" fmla="*/ 26 h 63"/>
                <a:gd name="T2" fmla="*/ 46 w 60"/>
                <a:gd name="T3" fmla="*/ 19 h 63"/>
                <a:gd name="T4" fmla="*/ 43 w 60"/>
                <a:gd name="T5" fmla="*/ 14 h 63"/>
                <a:gd name="T6" fmla="*/ 38 w 60"/>
                <a:gd name="T7" fmla="*/ 11 h 63"/>
                <a:gd name="T8" fmla="*/ 31 w 60"/>
                <a:gd name="T9" fmla="*/ 9 h 63"/>
                <a:gd name="T10" fmla="*/ 24 w 60"/>
                <a:gd name="T11" fmla="*/ 11 h 63"/>
                <a:gd name="T12" fmla="*/ 18 w 60"/>
                <a:gd name="T13" fmla="*/ 14 h 63"/>
                <a:gd name="T14" fmla="*/ 14 w 60"/>
                <a:gd name="T15" fmla="*/ 19 h 63"/>
                <a:gd name="T16" fmla="*/ 12 w 60"/>
                <a:gd name="T17" fmla="*/ 26 h 63"/>
                <a:gd name="T18" fmla="*/ 47 w 60"/>
                <a:gd name="T19" fmla="*/ 26 h 63"/>
                <a:gd name="T20" fmla="*/ 60 w 60"/>
                <a:gd name="T21" fmla="*/ 31 h 63"/>
                <a:gd name="T22" fmla="*/ 60 w 60"/>
                <a:gd name="T23" fmla="*/ 33 h 63"/>
                <a:gd name="T24" fmla="*/ 59 w 60"/>
                <a:gd name="T25" fmla="*/ 35 h 63"/>
                <a:gd name="T26" fmla="*/ 12 w 60"/>
                <a:gd name="T27" fmla="*/ 35 h 63"/>
                <a:gd name="T28" fmla="*/ 14 w 60"/>
                <a:gd name="T29" fmla="*/ 42 h 63"/>
                <a:gd name="T30" fmla="*/ 18 w 60"/>
                <a:gd name="T31" fmla="*/ 48 h 63"/>
                <a:gd name="T32" fmla="*/ 24 w 60"/>
                <a:gd name="T33" fmla="*/ 51 h 63"/>
                <a:gd name="T34" fmla="*/ 31 w 60"/>
                <a:gd name="T35" fmla="*/ 53 h 63"/>
                <a:gd name="T36" fmla="*/ 42 w 60"/>
                <a:gd name="T37" fmla="*/ 50 h 63"/>
                <a:gd name="T38" fmla="*/ 49 w 60"/>
                <a:gd name="T39" fmla="*/ 44 h 63"/>
                <a:gd name="T40" fmla="*/ 57 w 60"/>
                <a:gd name="T41" fmla="*/ 50 h 63"/>
                <a:gd name="T42" fmla="*/ 46 w 60"/>
                <a:gd name="T43" fmla="*/ 60 h 63"/>
                <a:gd name="T44" fmla="*/ 31 w 60"/>
                <a:gd name="T45" fmla="*/ 63 h 63"/>
                <a:gd name="T46" fmla="*/ 19 w 60"/>
                <a:gd name="T47" fmla="*/ 60 h 63"/>
                <a:gd name="T48" fmla="*/ 9 w 60"/>
                <a:gd name="T49" fmla="*/ 54 h 63"/>
                <a:gd name="T50" fmla="*/ 2 w 60"/>
                <a:gd name="T51" fmla="*/ 44 h 63"/>
                <a:gd name="T52" fmla="*/ 0 w 60"/>
                <a:gd name="T53" fmla="*/ 31 h 63"/>
                <a:gd name="T54" fmla="*/ 2 w 60"/>
                <a:gd name="T55" fmla="*/ 19 h 63"/>
                <a:gd name="T56" fmla="*/ 9 w 60"/>
                <a:gd name="T57" fmla="*/ 9 h 63"/>
                <a:gd name="T58" fmla="*/ 19 w 60"/>
                <a:gd name="T59" fmla="*/ 2 h 63"/>
                <a:gd name="T60" fmla="*/ 31 w 60"/>
                <a:gd name="T61" fmla="*/ 0 h 63"/>
                <a:gd name="T62" fmla="*/ 43 w 60"/>
                <a:gd name="T63" fmla="*/ 2 h 63"/>
                <a:gd name="T64" fmla="*/ 52 w 60"/>
                <a:gd name="T65" fmla="*/ 8 h 63"/>
                <a:gd name="T66" fmla="*/ 58 w 60"/>
                <a:gd name="T67" fmla="*/ 18 h 63"/>
                <a:gd name="T68" fmla="*/ 60 w 60"/>
                <a:gd name="T69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60" h="63">
                  <a:moveTo>
                    <a:pt x="47" y="26"/>
                  </a:moveTo>
                  <a:cubicBezTo>
                    <a:pt x="47" y="24"/>
                    <a:pt x="47" y="22"/>
                    <a:pt x="46" y="19"/>
                  </a:cubicBezTo>
                  <a:cubicBezTo>
                    <a:pt x="46" y="17"/>
                    <a:pt x="45" y="16"/>
                    <a:pt x="43" y="14"/>
                  </a:cubicBezTo>
                  <a:cubicBezTo>
                    <a:pt x="42" y="13"/>
                    <a:pt x="40" y="11"/>
                    <a:pt x="38" y="11"/>
                  </a:cubicBezTo>
                  <a:cubicBezTo>
                    <a:pt x="36" y="10"/>
                    <a:pt x="34" y="9"/>
                    <a:pt x="31" y="9"/>
                  </a:cubicBezTo>
                  <a:cubicBezTo>
                    <a:pt x="28" y="9"/>
                    <a:pt x="26" y="10"/>
                    <a:pt x="24" y="11"/>
                  </a:cubicBezTo>
                  <a:cubicBezTo>
                    <a:pt x="21" y="11"/>
                    <a:pt x="20" y="13"/>
                    <a:pt x="18" y="14"/>
                  </a:cubicBezTo>
                  <a:cubicBezTo>
                    <a:pt x="16" y="16"/>
                    <a:pt x="15" y="17"/>
                    <a:pt x="14" y="19"/>
                  </a:cubicBezTo>
                  <a:cubicBezTo>
                    <a:pt x="13" y="22"/>
                    <a:pt x="12" y="24"/>
                    <a:pt x="12" y="26"/>
                  </a:cubicBezTo>
                  <a:cubicBezTo>
                    <a:pt x="47" y="26"/>
                    <a:pt x="47" y="26"/>
                    <a:pt x="47" y="26"/>
                  </a:cubicBezTo>
                  <a:close/>
                  <a:moveTo>
                    <a:pt x="60" y="31"/>
                  </a:moveTo>
                  <a:cubicBezTo>
                    <a:pt x="60" y="32"/>
                    <a:pt x="60" y="32"/>
                    <a:pt x="60" y="33"/>
                  </a:cubicBezTo>
                  <a:cubicBezTo>
                    <a:pt x="60" y="34"/>
                    <a:pt x="59" y="34"/>
                    <a:pt x="59" y="35"/>
                  </a:cubicBezTo>
                  <a:cubicBezTo>
                    <a:pt x="12" y="35"/>
                    <a:pt x="12" y="35"/>
                    <a:pt x="12" y="35"/>
                  </a:cubicBezTo>
                  <a:cubicBezTo>
                    <a:pt x="12" y="37"/>
                    <a:pt x="13" y="40"/>
                    <a:pt x="14" y="42"/>
                  </a:cubicBezTo>
                  <a:cubicBezTo>
                    <a:pt x="15" y="44"/>
                    <a:pt x="16" y="46"/>
                    <a:pt x="18" y="48"/>
                  </a:cubicBezTo>
                  <a:cubicBezTo>
                    <a:pt x="20" y="49"/>
                    <a:pt x="22" y="51"/>
                    <a:pt x="24" y="51"/>
                  </a:cubicBezTo>
                  <a:cubicBezTo>
                    <a:pt x="26" y="52"/>
                    <a:pt x="29" y="53"/>
                    <a:pt x="31" y="53"/>
                  </a:cubicBezTo>
                  <a:cubicBezTo>
                    <a:pt x="35" y="53"/>
                    <a:pt x="39" y="52"/>
                    <a:pt x="42" y="50"/>
                  </a:cubicBezTo>
                  <a:cubicBezTo>
                    <a:pt x="45" y="48"/>
                    <a:pt x="47" y="46"/>
                    <a:pt x="49" y="44"/>
                  </a:cubicBezTo>
                  <a:cubicBezTo>
                    <a:pt x="57" y="50"/>
                    <a:pt x="57" y="50"/>
                    <a:pt x="57" y="50"/>
                  </a:cubicBezTo>
                  <a:cubicBezTo>
                    <a:pt x="54" y="55"/>
                    <a:pt x="50" y="58"/>
                    <a:pt x="46" y="60"/>
                  </a:cubicBezTo>
                  <a:cubicBezTo>
                    <a:pt x="41" y="62"/>
                    <a:pt x="37" y="63"/>
                    <a:pt x="31" y="63"/>
                  </a:cubicBezTo>
                  <a:cubicBezTo>
                    <a:pt x="27" y="63"/>
                    <a:pt x="23" y="62"/>
                    <a:pt x="19" y="60"/>
                  </a:cubicBezTo>
                  <a:cubicBezTo>
                    <a:pt x="15" y="59"/>
                    <a:pt x="12" y="57"/>
                    <a:pt x="9" y="54"/>
                  </a:cubicBezTo>
                  <a:cubicBezTo>
                    <a:pt x="6" y="51"/>
                    <a:pt x="4" y="48"/>
                    <a:pt x="2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3"/>
                    <a:pt x="2" y="19"/>
                  </a:cubicBezTo>
                  <a:cubicBezTo>
                    <a:pt x="4" y="15"/>
                    <a:pt x="6" y="12"/>
                    <a:pt x="9" y="9"/>
                  </a:cubicBezTo>
                  <a:cubicBezTo>
                    <a:pt x="12" y="6"/>
                    <a:pt x="15" y="4"/>
                    <a:pt x="19" y="2"/>
                  </a:cubicBezTo>
                  <a:cubicBezTo>
                    <a:pt x="22" y="1"/>
                    <a:pt x="26" y="0"/>
                    <a:pt x="31" y="0"/>
                  </a:cubicBezTo>
                  <a:cubicBezTo>
                    <a:pt x="35" y="0"/>
                    <a:pt x="39" y="1"/>
                    <a:pt x="43" y="2"/>
                  </a:cubicBezTo>
                  <a:cubicBezTo>
                    <a:pt x="46" y="4"/>
                    <a:pt x="49" y="6"/>
                    <a:pt x="52" y="8"/>
                  </a:cubicBezTo>
                  <a:cubicBezTo>
                    <a:pt x="54" y="11"/>
                    <a:pt x="56" y="14"/>
                    <a:pt x="58" y="18"/>
                  </a:cubicBezTo>
                  <a:cubicBezTo>
                    <a:pt x="59" y="22"/>
                    <a:pt x="60" y="26"/>
                    <a:pt x="60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0"/>
            <p:cNvSpPr>
              <a:spLocks/>
            </p:cNvSpPr>
            <p:nvPr userDrawn="1"/>
          </p:nvSpPr>
          <p:spPr bwMode="auto">
            <a:xfrm>
              <a:off x="12260263" y="-627063"/>
              <a:ext cx="198438" cy="228600"/>
            </a:xfrm>
            <a:custGeom>
              <a:avLst/>
              <a:gdLst>
                <a:gd name="T0" fmla="*/ 11 w 53"/>
                <a:gd name="T1" fmla="*/ 2 h 61"/>
                <a:gd name="T2" fmla="*/ 11 w 53"/>
                <a:gd name="T3" fmla="*/ 7 h 61"/>
                <a:gd name="T4" fmla="*/ 11 w 53"/>
                <a:gd name="T5" fmla="*/ 11 h 61"/>
                <a:gd name="T6" fmla="*/ 12 w 53"/>
                <a:gd name="T7" fmla="*/ 11 h 61"/>
                <a:gd name="T8" fmla="*/ 15 w 53"/>
                <a:gd name="T9" fmla="*/ 7 h 61"/>
                <a:gd name="T10" fmla="*/ 19 w 53"/>
                <a:gd name="T11" fmla="*/ 3 h 61"/>
                <a:gd name="T12" fmla="*/ 25 w 53"/>
                <a:gd name="T13" fmla="*/ 1 h 61"/>
                <a:gd name="T14" fmla="*/ 31 w 53"/>
                <a:gd name="T15" fmla="*/ 0 h 61"/>
                <a:gd name="T16" fmla="*/ 41 w 53"/>
                <a:gd name="T17" fmla="*/ 2 h 61"/>
                <a:gd name="T18" fmla="*/ 48 w 53"/>
                <a:gd name="T19" fmla="*/ 7 h 61"/>
                <a:gd name="T20" fmla="*/ 52 w 53"/>
                <a:gd name="T21" fmla="*/ 15 h 61"/>
                <a:gd name="T22" fmla="*/ 53 w 53"/>
                <a:gd name="T23" fmla="*/ 24 h 61"/>
                <a:gd name="T24" fmla="*/ 53 w 53"/>
                <a:gd name="T25" fmla="*/ 61 h 61"/>
                <a:gd name="T26" fmla="*/ 41 w 53"/>
                <a:gd name="T27" fmla="*/ 61 h 61"/>
                <a:gd name="T28" fmla="*/ 41 w 53"/>
                <a:gd name="T29" fmla="*/ 28 h 61"/>
                <a:gd name="T30" fmla="*/ 41 w 53"/>
                <a:gd name="T31" fmla="*/ 21 h 61"/>
                <a:gd name="T32" fmla="*/ 39 w 53"/>
                <a:gd name="T33" fmla="*/ 15 h 61"/>
                <a:gd name="T34" fmla="*/ 35 w 53"/>
                <a:gd name="T35" fmla="*/ 11 h 61"/>
                <a:gd name="T36" fmla="*/ 28 w 53"/>
                <a:gd name="T37" fmla="*/ 10 h 61"/>
                <a:gd name="T38" fmla="*/ 16 w 53"/>
                <a:gd name="T39" fmla="*/ 15 h 61"/>
                <a:gd name="T40" fmla="*/ 12 w 53"/>
                <a:gd name="T41" fmla="*/ 29 h 61"/>
                <a:gd name="T42" fmla="*/ 12 w 53"/>
                <a:gd name="T43" fmla="*/ 61 h 61"/>
                <a:gd name="T44" fmla="*/ 0 w 53"/>
                <a:gd name="T45" fmla="*/ 61 h 61"/>
                <a:gd name="T46" fmla="*/ 0 w 53"/>
                <a:gd name="T47" fmla="*/ 14 h 61"/>
                <a:gd name="T48" fmla="*/ 0 w 53"/>
                <a:gd name="T49" fmla="*/ 8 h 61"/>
                <a:gd name="T50" fmla="*/ 0 w 53"/>
                <a:gd name="T51" fmla="*/ 2 h 61"/>
                <a:gd name="T52" fmla="*/ 11 w 53"/>
                <a:gd name="T53" fmla="*/ 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53" h="61">
                  <a:moveTo>
                    <a:pt x="11" y="2"/>
                  </a:moveTo>
                  <a:cubicBezTo>
                    <a:pt x="11" y="3"/>
                    <a:pt x="11" y="5"/>
                    <a:pt x="11" y="7"/>
                  </a:cubicBezTo>
                  <a:cubicBezTo>
                    <a:pt x="11" y="9"/>
                    <a:pt x="11" y="10"/>
                    <a:pt x="11" y="11"/>
                  </a:cubicBezTo>
                  <a:cubicBezTo>
                    <a:pt x="12" y="11"/>
                    <a:pt x="12" y="11"/>
                    <a:pt x="12" y="11"/>
                  </a:cubicBezTo>
                  <a:cubicBezTo>
                    <a:pt x="12" y="10"/>
                    <a:pt x="14" y="8"/>
                    <a:pt x="15" y="7"/>
                  </a:cubicBezTo>
                  <a:cubicBezTo>
                    <a:pt x="16" y="6"/>
                    <a:pt x="18" y="4"/>
                    <a:pt x="19" y="3"/>
                  </a:cubicBezTo>
                  <a:cubicBezTo>
                    <a:pt x="21" y="2"/>
                    <a:pt x="23" y="1"/>
                    <a:pt x="25" y="1"/>
                  </a:cubicBezTo>
                  <a:cubicBezTo>
                    <a:pt x="27" y="0"/>
                    <a:pt x="29" y="0"/>
                    <a:pt x="31" y="0"/>
                  </a:cubicBezTo>
                  <a:cubicBezTo>
                    <a:pt x="35" y="0"/>
                    <a:pt x="38" y="1"/>
                    <a:pt x="41" y="2"/>
                  </a:cubicBezTo>
                  <a:cubicBezTo>
                    <a:pt x="44" y="3"/>
                    <a:pt x="46" y="5"/>
                    <a:pt x="48" y="7"/>
                  </a:cubicBezTo>
                  <a:cubicBezTo>
                    <a:pt x="50" y="9"/>
                    <a:pt x="51" y="12"/>
                    <a:pt x="52" y="15"/>
                  </a:cubicBezTo>
                  <a:cubicBezTo>
                    <a:pt x="53" y="18"/>
                    <a:pt x="53" y="21"/>
                    <a:pt x="53" y="24"/>
                  </a:cubicBezTo>
                  <a:cubicBezTo>
                    <a:pt x="53" y="61"/>
                    <a:pt x="53" y="61"/>
                    <a:pt x="53" y="61"/>
                  </a:cubicBezTo>
                  <a:cubicBezTo>
                    <a:pt x="41" y="61"/>
                    <a:pt x="41" y="61"/>
                    <a:pt x="41" y="61"/>
                  </a:cubicBezTo>
                  <a:cubicBezTo>
                    <a:pt x="41" y="28"/>
                    <a:pt x="41" y="28"/>
                    <a:pt x="41" y="28"/>
                  </a:cubicBezTo>
                  <a:cubicBezTo>
                    <a:pt x="41" y="26"/>
                    <a:pt x="41" y="23"/>
                    <a:pt x="41" y="21"/>
                  </a:cubicBezTo>
                  <a:cubicBezTo>
                    <a:pt x="41" y="19"/>
                    <a:pt x="40" y="17"/>
                    <a:pt x="39" y="15"/>
                  </a:cubicBezTo>
                  <a:cubicBezTo>
                    <a:pt x="38" y="14"/>
                    <a:pt x="36" y="12"/>
                    <a:pt x="35" y="11"/>
                  </a:cubicBezTo>
                  <a:cubicBezTo>
                    <a:pt x="33" y="10"/>
                    <a:pt x="31" y="10"/>
                    <a:pt x="28" y="10"/>
                  </a:cubicBezTo>
                  <a:cubicBezTo>
                    <a:pt x="23" y="10"/>
                    <a:pt x="19" y="12"/>
                    <a:pt x="16" y="15"/>
                  </a:cubicBezTo>
                  <a:cubicBezTo>
                    <a:pt x="13" y="19"/>
                    <a:pt x="12" y="24"/>
                    <a:pt x="12" y="29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3"/>
                    <a:pt x="0" y="11"/>
                    <a:pt x="0" y="8"/>
                  </a:cubicBezTo>
                  <a:cubicBezTo>
                    <a:pt x="0" y="6"/>
                    <a:pt x="0" y="4"/>
                    <a:pt x="0" y="2"/>
                  </a:cubicBezTo>
                  <a:cubicBezTo>
                    <a:pt x="11" y="2"/>
                    <a:pt x="11" y="2"/>
                    <a:pt x="11" y="2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61"/>
            <p:cNvSpPr>
              <a:spLocks noEditPoints="1"/>
            </p:cNvSpPr>
            <p:nvPr userDrawn="1"/>
          </p:nvSpPr>
          <p:spPr bwMode="auto">
            <a:xfrm>
              <a:off x="12507913" y="-627063"/>
              <a:ext cx="239713" cy="236538"/>
            </a:xfrm>
            <a:custGeom>
              <a:avLst/>
              <a:gdLst>
                <a:gd name="T0" fmla="*/ 52 w 64"/>
                <a:gd name="T1" fmla="*/ 31 h 63"/>
                <a:gd name="T2" fmla="*/ 51 w 64"/>
                <a:gd name="T3" fmla="*/ 23 h 63"/>
                <a:gd name="T4" fmla="*/ 47 w 64"/>
                <a:gd name="T5" fmla="*/ 16 h 63"/>
                <a:gd name="T6" fmla="*/ 41 w 64"/>
                <a:gd name="T7" fmla="*/ 12 h 63"/>
                <a:gd name="T8" fmla="*/ 32 w 64"/>
                <a:gd name="T9" fmla="*/ 10 h 63"/>
                <a:gd name="T10" fmla="*/ 24 w 64"/>
                <a:gd name="T11" fmla="*/ 12 h 63"/>
                <a:gd name="T12" fmla="*/ 18 w 64"/>
                <a:gd name="T13" fmla="*/ 16 h 63"/>
                <a:gd name="T14" fmla="*/ 14 w 64"/>
                <a:gd name="T15" fmla="*/ 23 h 63"/>
                <a:gd name="T16" fmla="*/ 12 w 64"/>
                <a:gd name="T17" fmla="*/ 31 h 63"/>
                <a:gd name="T18" fmla="*/ 14 w 64"/>
                <a:gd name="T19" fmla="*/ 39 h 63"/>
                <a:gd name="T20" fmla="*/ 18 w 64"/>
                <a:gd name="T21" fmla="*/ 46 h 63"/>
                <a:gd name="T22" fmla="*/ 24 w 64"/>
                <a:gd name="T23" fmla="*/ 51 h 63"/>
                <a:gd name="T24" fmla="*/ 32 w 64"/>
                <a:gd name="T25" fmla="*/ 53 h 63"/>
                <a:gd name="T26" fmla="*/ 41 w 64"/>
                <a:gd name="T27" fmla="*/ 51 h 63"/>
                <a:gd name="T28" fmla="*/ 47 w 64"/>
                <a:gd name="T29" fmla="*/ 46 h 63"/>
                <a:gd name="T30" fmla="*/ 51 w 64"/>
                <a:gd name="T31" fmla="*/ 39 h 63"/>
                <a:gd name="T32" fmla="*/ 52 w 64"/>
                <a:gd name="T33" fmla="*/ 31 h 63"/>
                <a:gd name="T34" fmla="*/ 64 w 64"/>
                <a:gd name="T35" fmla="*/ 31 h 63"/>
                <a:gd name="T36" fmla="*/ 62 w 64"/>
                <a:gd name="T37" fmla="*/ 44 h 63"/>
                <a:gd name="T38" fmla="*/ 55 w 64"/>
                <a:gd name="T39" fmla="*/ 54 h 63"/>
                <a:gd name="T40" fmla="*/ 45 w 64"/>
                <a:gd name="T41" fmla="*/ 60 h 63"/>
                <a:gd name="T42" fmla="*/ 32 w 64"/>
                <a:gd name="T43" fmla="*/ 63 h 63"/>
                <a:gd name="T44" fmla="*/ 20 w 64"/>
                <a:gd name="T45" fmla="*/ 60 h 63"/>
                <a:gd name="T46" fmla="*/ 9 w 64"/>
                <a:gd name="T47" fmla="*/ 54 h 63"/>
                <a:gd name="T48" fmla="*/ 3 w 64"/>
                <a:gd name="T49" fmla="*/ 44 h 63"/>
                <a:gd name="T50" fmla="*/ 0 w 64"/>
                <a:gd name="T51" fmla="*/ 31 h 63"/>
                <a:gd name="T52" fmla="*/ 3 w 64"/>
                <a:gd name="T53" fmla="*/ 19 h 63"/>
                <a:gd name="T54" fmla="*/ 9 w 64"/>
                <a:gd name="T55" fmla="*/ 9 h 63"/>
                <a:gd name="T56" fmla="*/ 20 w 64"/>
                <a:gd name="T57" fmla="*/ 2 h 63"/>
                <a:gd name="T58" fmla="*/ 32 w 64"/>
                <a:gd name="T59" fmla="*/ 0 h 63"/>
                <a:gd name="T60" fmla="*/ 45 w 64"/>
                <a:gd name="T61" fmla="*/ 2 h 63"/>
                <a:gd name="T62" fmla="*/ 55 w 64"/>
                <a:gd name="T63" fmla="*/ 9 h 63"/>
                <a:gd name="T64" fmla="*/ 62 w 64"/>
                <a:gd name="T65" fmla="*/ 19 h 63"/>
                <a:gd name="T66" fmla="*/ 64 w 64"/>
                <a:gd name="T67" fmla="*/ 3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4" h="63">
                  <a:moveTo>
                    <a:pt x="52" y="31"/>
                  </a:moveTo>
                  <a:cubicBezTo>
                    <a:pt x="52" y="28"/>
                    <a:pt x="52" y="26"/>
                    <a:pt x="51" y="23"/>
                  </a:cubicBezTo>
                  <a:cubicBezTo>
                    <a:pt x="50" y="21"/>
                    <a:pt x="49" y="18"/>
                    <a:pt x="47" y="16"/>
                  </a:cubicBezTo>
                  <a:cubicBezTo>
                    <a:pt x="45" y="14"/>
                    <a:pt x="43" y="13"/>
                    <a:pt x="41" y="12"/>
                  </a:cubicBezTo>
                  <a:cubicBezTo>
                    <a:pt x="38" y="10"/>
                    <a:pt x="35" y="10"/>
                    <a:pt x="32" y="10"/>
                  </a:cubicBezTo>
                  <a:cubicBezTo>
                    <a:pt x="29" y="10"/>
                    <a:pt x="26" y="10"/>
                    <a:pt x="24" y="12"/>
                  </a:cubicBezTo>
                  <a:cubicBezTo>
                    <a:pt x="21" y="13"/>
                    <a:pt x="19" y="14"/>
                    <a:pt x="18" y="16"/>
                  </a:cubicBezTo>
                  <a:cubicBezTo>
                    <a:pt x="16" y="18"/>
                    <a:pt x="15" y="21"/>
                    <a:pt x="14" y="23"/>
                  </a:cubicBezTo>
                  <a:cubicBezTo>
                    <a:pt x="13" y="26"/>
                    <a:pt x="12" y="28"/>
                    <a:pt x="12" y="31"/>
                  </a:cubicBezTo>
                  <a:cubicBezTo>
                    <a:pt x="12" y="34"/>
                    <a:pt x="13" y="37"/>
                    <a:pt x="14" y="39"/>
                  </a:cubicBezTo>
                  <a:cubicBezTo>
                    <a:pt x="15" y="42"/>
                    <a:pt x="16" y="44"/>
                    <a:pt x="18" y="46"/>
                  </a:cubicBezTo>
                  <a:cubicBezTo>
                    <a:pt x="19" y="48"/>
                    <a:pt x="21" y="50"/>
                    <a:pt x="24" y="51"/>
                  </a:cubicBezTo>
                  <a:cubicBezTo>
                    <a:pt x="26" y="52"/>
                    <a:pt x="29" y="53"/>
                    <a:pt x="32" y="53"/>
                  </a:cubicBezTo>
                  <a:cubicBezTo>
                    <a:pt x="35" y="53"/>
                    <a:pt x="38" y="52"/>
                    <a:pt x="41" y="51"/>
                  </a:cubicBezTo>
                  <a:cubicBezTo>
                    <a:pt x="43" y="50"/>
                    <a:pt x="45" y="48"/>
                    <a:pt x="47" y="46"/>
                  </a:cubicBezTo>
                  <a:cubicBezTo>
                    <a:pt x="49" y="44"/>
                    <a:pt x="50" y="42"/>
                    <a:pt x="51" y="39"/>
                  </a:cubicBezTo>
                  <a:cubicBezTo>
                    <a:pt x="52" y="37"/>
                    <a:pt x="52" y="34"/>
                    <a:pt x="52" y="31"/>
                  </a:cubicBezTo>
                  <a:close/>
                  <a:moveTo>
                    <a:pt x="64" y="31"/>
                  </a:moveTo>
                  <a:cubicBezTo>
                    <a:pt x="64" y="36"/>
                    <a:pt x="64" y="40"/>
                    <a:pt x="62" y="44"/>
                  </a:cubicBezTo>
                  <a:cubicBezTo>
                    <a:pt x="60" y="48"/>
                    <a:pt x="58" y="51"/>
                    <a:pt x="55" y="54"/>
                  </a:cubicBezTo>
                  <a:cubicBezTo>
                    <a:pt x="52" y="57"/>
                    <a:pt x="49" y="59"/>
                    <a:pt x="45" y="60"/>
                  </a:cubicBezTo>
                  <a:cubicBezTo>
                    <a:pt x="41" y="62"/>
                    <a:pt x="37" y="63"/>
                    <a:pt x="32" y="63"/>
                  </a:cubicBezTo>
                  <a:cubicBezTo>
                    <a:pt x="28" y="63"/>
                    <a:pt x="24" y="62"/>
                    <a:pt x="20" y="60"/>
                  </a:cubicBezTo>
                  <a:cubicBezTo>
                    <a:pt x="16" y="59"/>
                    <a:pt x="12" y="57"/>
                    <a:pt x="9" y="54"/>
                  </a:cubicBezTo>
                  <a:cubicBezTo>
                    <a:pt x="7" y="51"/>
                    <a:pt x="4" y="48"/>
                    <a:pt x="3" y="44"/>
                  </a:cubicBezTo>
                  <a:cubicBezTo>
                    <a:pt x="1" y="40"/>
                    <a:pt x="0" y="36"/>
                    <a:pt x="0" y="31"/>
                  </a:cubicBezTo>
                  <a:cubicBezTo>
                    <a:pt x="0" y="27"/>
                    <a:pt x="1" y="22"/>
                    <a:pt x="3" y="19"/>
                  </a:cubicBezTo>
                  <a:cubicBezTo>
                    <a:pt x="4" y="15"/>
                    <a:pt x="7" y="12"/>
                    <a:pt x="9" y="9"/>
                  </a:cubicBezTo>
                  <a:cubicBezTo>
                    <a:pt x="12" y="6"/>
                    <a:pt x="16" y="4"/>
                    <a:pt x="20" y="2"/>
                  </a:cubicBezTo>
                  <a:cubicBezTo>
                    <a:pt x="24" y="1"/>
                    <a:pt x="28" y="0"/>
                    <a:pt x="32" y="0"/>
                  </a:cubicBezTo>
                  <a:cubicBezTo>
                    <a:pt x="37" y="0"/>
                    <a:pt x="41" y="1"/>
                    <a:pt x="45" y="2"/>
                  </a:cubicBezTo>
                  <a:cubicBezTo>
                    <a:pt x="49" y="4"/>
                    <a:pt x="52" y="6"/>
                    <a:pt x="55" y="9"/>
                  </a:cubicBezTo>
                  <a:cubicBezTo>
                    <a:pt x="58" y="12"/>
                    <a:pt x="60" y="15"/>
                    <a:pt x="62" y="19"/>
                  </a:cubicBezTo>
                  <a:cubicBezTo>
                    <a:pt x="64" y="22"/>
                    <a:pt x="64" y="27"/>
                    <a:pt x="64" y="31"/>
                  </a:cubicBez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62"/>
            <p:cNvSpPr>
              <a:spLocks/>
            </p:cNvSpPr>
            <p:nvPr userDrawn="1"/>
          </p:nvSpPr>
          <p:spPr bwMode="auto">
            <a:xfrm>
              <a:off x="12777788" y="-620713"/>
              <a:ext cx="349250" cy="222250"/>
            </a:xfrm>
            <a:custGeom>
              <a:avLst/>
              <a:gdLst>
                <a:gd name="T0" fmla="*/ 31 w 220"/>
                <a:gd name="T1" fmla="*/ 0 h 140"/>
                <a:gd name="T2" fmla="*/ 62 w 220"/>
                <a:gd name="T3" fmla="*/ 107 h 140"/>
                <a:gd name="T4" fmla="*/ 62 w 220"/>
                <a:gd name="T5" fmla="*/ 107 h 140"/>
                <a:gd name="T6" fmla="*/ 95 w 220"/>
                <a:gd name="T7" fmla="*/ 0 h 140"/>
                <a:gd name="T8" fmla="*/ 126 w 220"/>
                <a:gd name="T9" fmla="*/ 0 h 140"/>
                <a:gd name="T10" fmla="*/ 159 w 220"/>
                <a:gd name="T11" fmla="*/ 107 h 140"/>
                <a:gd name="T12" fmla="*/ 161 w 220"/>
                <a:gd name="T13" fmla="*/ 107 h 140"/>
                <a:gd name="T14" fmla="*/ 192 w 220"/>
                <a:gd name="T15" fmla="*/ 0 h 140"/>
                <a:gd name="T16" fmla="*/ 220 w 220"/>
                <a:gd name="T17" fmla="*/ 0 h 140"/>
                <a:gd name="T18" fmla="*/ 175 w 220"/>
                <a:gd name="T19" fmla="*/ 140 h 140"/>
                <a:gd name="T20" fmla="*/ 145 w 220"/>
                <a:gd name="T21" fmla="*/ 140 h 140"/>
                <a:gd name="T22" fmla="*/ 111 w 220"/>
                <a:gd name="T23" fmla="*/ 34 h 140"/>
                <a:gd name="T24" fmla="*/ 109 w 220"/>
                <a:gd name="T25" fmla="*/ 34 h 140"/>
                <a:gd name="T26" fmla="*/ 76 w 220"/>
                <a:gd name="T27" fmla="*/ 140 h 140"/>
                <a:gd name="T28" fmla="*/ 48 w 220"/>
                <a:gd name="T29" fmla="*/ 140 h 140"/>
                <a:gd name="T30" fmla="*/ 0 w 220"/>
                <a:gd name="T31" fmla="*/ 0 h 140"/>
                <a:gd name="T32" fmla="*/ 31 w 220"/>
                <a:gd name="T33" fmla="*/ 0 h 140"/>
                <a:gd name="T34" fmla="*/ 31 w 220"/>
                <a:gd name="T35" fmla="*/ 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20" h="140">
                  <a:moveTo>
                    <a:pt x="31" y="0"/>
                  </a:moveTo>
                  <a:lnTo>
                    <a:pt x="62" y="107"/>
                  </a:lnTo>
                  <a:lnTo>
                    <a:pt x="62" y="107"/>
                  </a:lnTo>
                  <a:lnTo>
                    <a:pt x="95" y="0"/>
                  </a:lnTo>
                  <a:lnTo>
                    <a:pt x="126" y="0"/>
                  </a:lnTo>
                  <a:lnTo>
                    <a:pt x="159" y="107"/>
                  </a:lnTo>
                  <a:lnTo>
                    <a:pt x="161" y="107"/>
                  </a:lnTo>
                  <a:lnTo>
                    <a:pt x="192" y="0"/>
                  </a:lnTo>
                  <a:lnTo>
                    <a:pt x="220" y="0"/>
                  </a:lnTo>
                  <a:lnTo>
                    <a:pt x="175" y="140"/>
                  </a:lnTo>
                  <a:lnTo>
                    <a:pt x="145" y="140"/>
                  </a:lnTo>
                  <a:lnTo>
                    <a:pt x="111" y="34"/>
                  </a:lnTo>
                  <a:lnTo>
                    <a:pt x="109" y="34"/>
                  </a:lnTo>
                  <a:lnTo>
                    <a:pt x="76" y="140"/>
                  </a:lnTo>
                  <a:lnTo>
                    <a:pt x="48" y="140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0"/>
                  </a:lnTo>
                  <a:close/>
                </a:path>
              </a:pathLst>
            </a:custGeom>
            <a:solidFill>
              <a:srgbClr val="004A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38229967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1174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228600" indent="-111125" algn="l" defTabSz="914400" rtl="0" eaLnBrk="1" latinLnBrk="0" hangingPunct="1">
      <a:spcBef>
        <a:spcPts val="400"/>
      </a:spcBef>
      <a:buFont typeface="Arial" panose="020B0604020202020204" pitchFamily="34" charset="0"/>
      <a:buChar char="-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346075" indent="-117475" algn="l" defTabSz="914400" rtl="0" eaLnBrk="1" latinLnBrk="0" hangingPunct="1">
      <a:spcBef>
        <a:spcPts val="400"/>
      </a:spcBef>
      <a:buFont typeface="Arial" panose="020B0604020202020204" pitchFamily="34" charset="0"/>
      <a:buChar char="›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2763" indent="-166688" algn="l" defTabSz="914400" rtl="0" eaLnBrk="1" latinLnBrk="0" hangingPunct="1">
      <a:spcBef>
        <a:spcPts val="400"/>
      </a:spcBef>
      <a:buFont typeface="Arial" panose="020B0604020202020204" pitchFamily="34" charset="0"/>
      <a:buChar char="»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630238" indent="-117475" algn="l" defTabSz="914400" rtl="0" eaLnBrk="1" latinLnBrk="0" hangingPunct="1">
      <a:spcBef>
        <a:spcPts val="400"/>
      </a:spcBef>
      <a:buSzPct val="75000"/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12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6325192" y="4084609"/>
            <a:ext cx="4800600" cy="6463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25192" y="4865458"/>
            <a:ext cx="48006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Author First Last Name 16pt Arial</a:t>
            </a:r>
          </a:p>
        </p:txBody>
      </p:sp>
      <p:sp>
        <p:nvSpPr>
          <p:cNvPr id="19" name="TextBox 18"/>
          <p:cNvSpPr txBox="1"/>
          <p:nvPr/>
        </p:nvSpPr>
        <p:spPr bwMode="black">
          <a:xfrm>
            <a:off x="2248001" y="6520894"/>
            <a:ext cx="2204450" cy="215444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800" dirty="0">
                <a:solidFill>
                  <a:schemeClr val="tx1"/>
                </a:solidFill>
                <a:ea typeface="Arial" charset="0"/>
                <a:cs typeface="Arial" charset="0"/>
              </a:rPr>
              <a:t>Copyright © 2017 IQVIA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25192" y="1830302"/>
            <a:ext cx="4800600" cy="2286058"/>
          </a:xfrm>
          <a:prstGeom prst="rect">
            <a:avLst/>
          </a:prstGeom>
        </p:spPr>
        <p:txBody>
          <a:bodyPr anchor="b"/>
          <a:lstStyle>
            <a:lvl1pPr algn="r">
              <a:lnSpc>
                <a:spcPct val="100000"/>
              </a:lnSpc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32pt Arial Bold Title Case</a:t>
            </a:r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 rot="5400000">
            <a:off x="-864496" y="2477220"/>
            <a:ext cx="3447991" cy="1763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261101" cy="6845300"/>
          </a:xfrm>
          <a:prstGeom prst="rect">
            <a:avLst/>
          </a:prstGeom>
        </p:spPr>
      </p:pic>
      <p:sp>
        <p:nvSpPr>
          <p:cNvPr id="18" name="Rectangle 58"/>
          <p:cNvSpPr>
            <a:spLocks noChangeArrowheads="1"/>
          </p:cNvSpPr>
          <p:nvPr/>
        </p:nvSpPr>
        <p:spPr bwMode="gray">
          <a:xfrm rot="5400000">
            <a:off x="-436735" y="5497452"/>
            <a:ext cx="2592472" cy="176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grpSp>
        <p:nvGrpSpPr>
          <p:cNvPr id="14" name="Group 13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16" name="Rectangle 15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84694" y="6387858"/>
            <a:ext cx="9119524" cy="338087"/>
          </a:xfrm>
        </p:spPr>
        <p:txBody>
          <a:bodyPr/>
          <a:lstStyle/>
          <a:p>
            <a:endParaRPr lang="en-US"/>
          </a:p>
        </p:txBody>
      </p:sp>
      <p:sp>
        <p:nvSpPr>
          <p:cNvPr id="8" name="Slide Number Placeholder 5"/>
          <p:cNvSpPr txBox="1">
            <a:spLocks/>
          </p:cNvSpPr>
          <p:nvPr/>
        </p:nvSpPr>
        <p:spPr>
          <a:xfrm>
            <a:off x="11615748" y="6419366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#›</a:t>
            </a:fld>
            <a:endParaRPr lang="en-US" sz="900" dirty="0">
              <a:solidFill>
                <a:schemeClr val="tx1"/>
              </a:solidFill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6" name="Rectangle 5"/>
            <p:cNvSpPr/>
            <p:nvPr/>
          </p:nvSpPr>
          <p:spPr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/>
          </p:nvSpPr>
          <p:spPr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60"/>
          <p:cNvSpPr>
            <a:spLocks noChangeArrowheads="1"/>
          </p:cNvSpPr>
          <p:nvPr/>
        </p:nvSpPr>
        <p:spPr bwMode="gray">
          <a:xfrm>
            <a:off x="582283" y="-1"/>
            <a:ext cx="3078445" cy="6858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1" name="TextBox 160"/>
          <p:cNvSpPr txBox="1"/>
          <p:nvPr/>
        </p:nvSpPr>
        <p:spPr bwMode="white">
          <a:xfrm>
            <a:off x="946623" y="835016"/>
            <a:ext cx="1816547" cy="499947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Table</a:t>
            </a:r>
            <a:r>
              <a:rPr lang="en-US" sz="2800" b="1" baseline="0" dirty="0">
                <a:solidFill>
                  <a:schemeClr val="bg1"/>
                </a:solidFill>
              </a:rPr>
              <a:t> of Contents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164" name="Text Placeholder 163"/>
          <p:cNvSpPr>
            <a:spLocks noGrp="1"/>
          </p:cNvSpPr>
          <p:nvPr>
            <p:ph type="body" sz="quarter" idx="11" hasCustomPrompt="1"/>
          </p:nvPr>
        </p:nvSpPr>
        <p:spPr>
          <a:xfrm>
            <a:off x="4236980" y="835016"/>
            <a:ext cx="7090641" cy="4999475"/>
          </a:xfrm>
          <a:prstGeom prst="rect">
            <a:avLst/>
          </a:prstGeom>
        </p:spPr>
        <p:txBody>
          <a:bodyPr anchor="ctr"/>
          <a:lstStyle>
            <a:lvl1pPr marL="228600" indent="-22860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+"/>
              <a:defRPr sz="1800" baseline="0"/>
            </a:lvl1pPr>
            <a:lvl2pPr marL="400050" indent="-171450">
              <a:buClr>
                <a:schemeClr val="bg2"/>
              </a:buCl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Arial 18pt TOC</a:t>
            </a:r>
          </a:p>
        </p:txBody>
      </p:sp>
      <p:sp>
        <p:nvSpPr>
          <p:cNvPr id="26" name="Rectangle 58"/>
          <p:cNvSpPr>
            <a:spLocks noChangeArrowheads="1"/>
          </p:cNvSpPr>
          <p:nvPr/>
        </p:nvSpPr>
        <p:spPr bwMode="gray">
          <a:xfrm>
            <a:off x="3660728" y="6420040"/>
            <a:ext cx="6116253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7" name="Rectangle 58"/>
          <p:cNvSpPr>
            <a:spLocks noChangeArrowheads="1"/>
          </p:cNvSpPr>
          <p:nvPr/>
        </p:nvSpPr>
        <p:spPr bwMode="white">
          <a:xfrm>
            <a:off x="582284" y="6420040"/>
            <a:ext cx="3078444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8" name="Rectangle 58"/>
          <p:cNvSpPr>
            <a:spLocks noChangeArrowheads="1"/>
          </p:cNvSpPr>
          <p:nvPr/>
        </p:nvSpPr>
        <p:spPr bwMode="gray">
          <a:xfrm>
            <a:off x="6033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58"/>
          <p:cNvSpPr>
            <a:spLocks noChangeArrowheads="1"/>
          </p:cNvSpPr>
          <p:nvPr/>
        </p:nvSpPr>
        <p:spPr bwMode="gray">
          <a:xfrm rot="5400000">
            <a:off x="-2148815" y="3761537"/>
            <a:ext cx="6016625" cy="1763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gray">
          <a:xfrm>
            <a:off x="0" y="1786580"/>
            <a:ext cx="8515386" cy="42598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721276" y="2107576"/>
            <a:ext cx="6494469" cy="3616037"/>
          </a:xfrm>
          <a:prstGeom prst="rect">
            <a:avLst/>
          </a:prstGeom>
        </p:spPr>
        <p:txBody>
          <a:bodyPr anchor="ctr" anchorCtr="0"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ividers Are 28pt Arial Bold Title Case</a:t>
            </a:r>
          </a:p>
        </p:txBody>
      </p:sp>
      <p:sp>
        <p:nvSpPr>
          <p:cNvPr id="16" name="Rectangle 58"/>
          <p:cNvSpPr>
            <a:spLocks noChangeArrowheads="1"/>
          </p:cNvSpPr>
          <p:nvPr/>
        </p:nvSpPr>
        <p:spPr bwMode="white">
          <a:xfrm rot="5400000">
            <a:off x="-1272658" y="3828727"/>
            <a:ext cx="4261751" cy="1737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#›</a:t>
            </a:fld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9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23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</p:spTree>
    <p:extLst/>
  </p:cSld>
  <p:clrMapOvr>
    <a:masterClrMapping/>
  </p:clrMapOvr>
  <p:hf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192000" cy="6857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641"/>
            <a:ext cx="1389888" cy="242717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053219" y="914400"/>
            <a:ext cx="10085832" cy="5029199"/>
          </a:xfrm>
          <a:prstGeom prst="rect">
            <a:avLst/>
          </a:prstGeom>
        </p:spPr>
        <p:txBody>
          <a:bodyPr anchor="ctr" anchorCtr="0"/>
          <a:lstStyle>
            <a:lvl1pPr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ought slides are 36pt Arial sentence case</a:t>
            </a:r>
          </a:p>
        </p:txBody>
      </p:sp>
    </p:spTree>
    <p:extLst/>
  </p:cSld>
  <p:clrMapOvr>
    <a:masterClrMapping/>
  </p:clrMapOvr>
  <p:transition spd="med">
    <p:fade/>
  </p:transition>
  <p:hf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20338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049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058912" y="1084819"/>
            <a:ext cx="10085562" cy="2110629"/>
          </a:xfrm>
          <a:prstGeom prst="rect">
            <a:avLst/>
          </a:prstGeom>
        </p:spPr>
        <p:txBody>
          <a:bodyPr anchor="ctr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osing Slides are 36pt Arial sentence case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08148"/>
            <a:ext cx="3326745" cy="3637151"/>
          </a:xfrm>
          <a:prstGeom prst="rect">
            <a:avLst/>
          </a:prstGeom>
        </p:spPr>
      </p:pic>
      <p:sp>
        <p:nvSpPr>
          <p:cNvPr id="11" name="Rectangle 58"/>
          <p:cNvSpPr>
            <a:spLocks noChangeArrowheads="1"/>
          </p:cNvSpPr>
          <p:nvPr/>
        </p:nvSpPr>
        <p:spPr bwMode="white">
          <a:xfrm>
            <a:off x="11506198" y="771348"/>
            <a:ext cx="697189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65550" y="3208148"/>
            <a:ext cx="7378924" cy="3300602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rial 24pt bullet level 1</a:t>
            </a:r>
          </a:p>
          <a:p>
            <a:pPr lvl="1"/>
            <a:r>
              <a:rPr lang="en-US" dirty="0"/>
              <a:t>Arial 24pt bullet level 2</a:t>
            </a:r>
          </a:p>
          <a:p>
            <a:pPr lvl="2"/>
            <a:r>
              <a:rPr lang="en-US" dirty="0"/>
              <a:t>Arial 24pt bullet level 3</a:t>
            </a:r>
          </a:p>
          <a:p>
            <a:pPr lvl="3"/>
            <a:r>
              <a:rPr lang="en-US" dirty="0"/>
              <a:t>Arial 24pt bullet level 4</a:t>
            </a:r>
          </a:p>
          <a:p>
            <a:pPr lvl="4"/>
            <a:r>
              <a:rPr lang="en-US" dirty="0"/>
              <a:t>Arial 24pt bullet level 5</a:t>
            </a:r>
          </a:p>
        </p:txBody>
      </p:sp>
    </p:spTree>
    <p:extLst/>
  </p:cSld>
  <p:clrMapOvr>
    <a:masterClrMapping/>
  </p:clrMapOvr>
  <p:transition spd="med">
    <p:fade/>
  </p:transition>
  <p:hf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962C272-AF31-448C-A49B-0F88D1C9E7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7ED3453-C110-4ED0-B400-F2DBD1E92C0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C0653A-6B5B-4712-BA31-D9FCE998DDE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61958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860971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1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866467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grpSp>
        <p:nvGrpSpPr>
          <p:cNvPr id="8" name="Group 7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9" name="Rectangle 8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/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91062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1"/>
            <a:ext cx="11338560" cy="4434698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3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496691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08456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4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/>
              <a:t>Callouts are 16pt Arial Bold sentence case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</a:t>
            </a:r>
            <a:r>
              <a:rPr lang="en-US" noProof="0" dirty="0"/>
              <a:t> </a:t>
            </a:r>
            <a:r>
              <a:rPr lang="en-US" noProof="0" dirty="0" err="1"/>
              <a:t>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tincidunt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laoree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Lorem ipsum dolor sit </a:t>
            </a:r>
            <a:r>
              <a:rPr lang="en-US" noProof="0" dirty="0" err="1"/>
              <a:t>amet</a:t>
            </a:r>
            <a:r>
              <a:rPr lang="en-US" noProof="0" dirty="0"/>
              <a:t>, </a:t>
            </a:r>
            <a:r>
              <a:rPr lang="en-US" noProof="0" dirty="0" err="1"/>
              <a:t>consectetuer</a:t>
            </a:r>
            <a:r>
              <a:rPr lang="en-US" noProof="0" dirty="0"/>
              <a:t> </a:t>
            </a:r>
            <a:r>
              <a:rPr lang="en-US" noProof="0" dirty="0" err="1"/>
              <a:t>adipiscing</a:t>
            </a:r>
            <a:r>
              <a:rPr lang="en-US" noProof="0" dirty="0"/>
              <a:t> </a:t>
            </a:r>
            <a:r>
              <a:rPr lang="en-US" noProof="0" dirty="0" err="1"/>
              <a:t>elit</a:t>
            </a:r>
            <a:r>
              <a:rPr lang="en-US" noProof="0" dirty="0"/>
              <a:t>, </a:t>
            </a:r>
            <a:r>
              <a:rPr lang="en-US" noProof="0" dirty="0" err="1"/>
              <a:t>sed</a:t>
            </a:r>
            <a:r>
              <a:rPr lang="en-US" noProof="0" dirty="0"/>
              <a:t> </a:t>
            </a:r>
            <a:r>
              <a:rPr lang="en-US" noProof="0" dirty="0" err="1"/>
              <a:t>diam</a:t>
            </a:r>
            <a:r>
              <a:rPr lang="en-US" noProof="0" dirty="0"/>
              <a:t> </a:t>
            </a:r>
            <a:r>
              <a:rPr lang="en-US" noProof="0" dirty="0" err="1"/>
              <a:t>nonummy</a:t>
            </a:r>
            <a:r>
              <a:rPr lang="en-US" noProof="0" dirty="0"/>
              <a:t> </a:t>
            </a:r>
            <a:r>
              <a:rPr lang="en-US" noProof="0" dirty="0" err="1"/>
              <a:t>nibh</a:t>
            </a:r>
            <a:r>
              <a:rPr lang="en-US" noProof="0" dirty="0"/>
              <a:t> </a:t>
            </a:r>
            <a:r>
              <a:rPr lang="en-US" noProof="0" dirty="0" err="1"/>
              <a:t>euismod</a:t>
            </a:r>
            <a:r>
              <a:rPr lang="en-US" noProof="0" dirty="0"/>
              <a:t> </a:t>
            </a:r>
            <a:r>
              <a:rPr lang="en-US" noProof="0" dirty="0" err="1"/>
              <a:t>ut</a:t>
            </a:r>
            <a:r>
              <a:rPr lang="en-US" noProof="0" dirty="0"/>
              <a:t> </a:t>
            </a:r>
            <a:r>
              <a:rPr lang="en-US" noProof="0" dirty="0" err="1"/>
              <a:t>dolore</a:t>
            </a:r>
            <a:r>
              <a:rPr lang="en-US" noProof="0" dirty="0"/>
              <a:t> magna </a:t>
            </a:r>
            <a:r>
              <a:rPr lang="en-US" noProof="0" dirty="0" err="1"/>
              <a:t>aliquam</a:t>
            </a:r>
            <a:r>
              <a:rPr lang="en-US" noProof="0" dirty="0"/>
              <a:t> </a:t>
            </a:r>
            <a:r>
              <a:rPr lang="en-US" noProof="0" dirty="0" err="1"/>
              <a:t>erat</a:t>
            </a:r>
            <a:r>
              <a:rPr lang="en-US" noProof="0" dirty="0"/>
              <a:t> </a:t>
            </a:r>
            <a:r>
              <a:rPr lang="en-US" noProof="0" dirty="0" err="1"/>
              <a:t>volutpat</a:t>
            </a:r>
            <a:r>
              <a:rPr lang="en-US" noProof="0" dirty="0"/>
              <a:t>. 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3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191134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tabLst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5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2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245879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8107067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Arial 16pt bullet level 1</a:t>
            </a:r>
          </a:p>
          <a:p>
            <a:pPr lvl="1"/>
            <a:r>
              <a:rPr lang="en-US" dirty="0"/>
              <a:t>Arial 16pt bullet level 2</a:t>
            </a:r>
          </a:p>
          <a:p>
            <a:pPr lvl="2"/>
            <a:r>
              <a:rPr lang="en-US" dirty="0"/>
              <a:t>Arial 16pt bullet level 3</a:t>
            </a:r>
          </a:p>
          <a:p>
            <a:pPr lvl="3"/>
            <a:r>
              <a:rPr lang="en-US" dirty="0"/>
              <a:t>Arial 16pt bullet level 4</a:t>
            </a:r>
          </a:p>
          <a:p>
            <a:pPr lvl="4"/>
            <a:r>
              <a:rPr lang="en-US" dirty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Subheads are 20pt Arial Italic sentence case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83442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8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adlines Are 28pt Arial Bold Title Case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#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/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0480811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5" name="think-cell Slide" r:id="rId21" imgW="180" imgH="180" progId="TCLayout.ActiveDocument.1">
                  <p:embed/>
                </p:oleObj>
              </mc:Choice>
              <mc:Fallback>
                <p:oleObj name="think-cell Slide" r:id="rId21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8831696" cy="33808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</a:lstStyle>
          <a:p>
            <a:endParaRPr lang="en-US" dirty="0"/>
          </a:p>
        </p:txBody>
      </p:sp>
      <p:grpSp>
        <p:nvGrpSpPr>
          <p:cNvPr id="2" name="Group 1"/>
          <p:cNvGrpSpPr/>
          <p:nvPr userDrawn="1"/>
        </p:nvGrpSpPr>
        <p:grpSpPr>
          <a:xfrm>
            <a:off x="12420545" y="0"/>
            <a:ext cx="284385" cy="5779689"/>
            <a:chOff x="12420545" y="0"/>
            <a:chExt cx="284385" cy="5779689"/>
          </a:xfrm>
        </p:grpSpPr>
        <p:sp>
          <p:nvSpPr>
            <p:cNvPr id="4" name="Rectangle 3"/>
            <p:cNvSpPr/>
            <p:nvPr userDrawn="1"/>
          </p:nvSpPr>
          <p:spPr bwMode="gray">
            <a:xfrm>
              <a:off x="12420545" y="0"/>
              <a:ext cx="284385" cy="2843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/>
            <p:cNvSpPr/>
            <p:nvPr userDrawn="1"/>
          </p:nvSpPr>
          <p:spPr bwMode="gray">
            <a:xfrm>
              <a:off x="12420545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 userDrawn="1"/>
          </p:nvSpPr>
          <p:spPr bwMode="gray">
            <a:xfrm>
              <a:off x="12420545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/>
            <p:cNvSpPr/>
            <p:nvPr userDrawn="1"/>
          </p:nvSpPr>
          <p:spPr bwMode="gray">
            <a:xfrm>
              <a:off x="12420545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 userDrawn="1"/>
          </p:nvSpPr>
          <p:spPr bwMode="gray">
            <a:xfrm>
              <a:off x="12420545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 userDrawn="1"/>
          </p:nvSpPr>
          <p:spPr bwMode="gray">
            <a:xfrm>
              <a:off x="12420545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 userDrawn="1"/>
          </p:nvSpPr>
          <p:spPr bwMode="gray">
            <a:xfrm>
              <a:off x="12420545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 userDrawn="1"/>
          </p:nvSpPr>
          <p:spPr bwMode="gray">
            <a:xfrm>
              <a:off x="12420545" y="2874528"/>
              <a:ext cx="284385" cy="284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 userDrawn="1"/>
          </p:nvSpPr>
          <p:spPr bwMode="gray">
            <a:xfrm>
              <a:off x="12420545" y="3206436"/>
              <a:ext cx="284385" cy="28438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 userDrawn="1"/>
          </p:nvSpPr>
          <p:spPr bwMode="gray">
            <a:xfrm>
              <a:off x="12420545" y="3853100"/>
              <a:ext cx="284385" cy="28438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>
              <a:off x="12420545" y="4187002"/>
              <a:ext cx="284385" cy="2843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>
              <a:off x="12420545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 userDrawn="1"/>
          </p:nvSpPr>
          <p:spPr bwMode="gray">
            <a:xfrm>
              <a:off x="12420545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 userDrawn="1"/>
          </p:nvSpPr>
          <p:spPr bwMode="gray">
            <a:xfrm>
              <a:off x="12420545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4855696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802" r:id="rId2"/>
    <p:sldLayoutId id="2147483803" r:id="rId3"/>
    <p:sldLayoutId id="2147483804" r:id="rId4"/>
    <p:sldLayoutId id="2147483805" r:id="rId5"/>
    <p:sldLayoutId id="2147483806" r:id="rId6"/>
    <p:sldLayoutId id="2147483807" r:id="rId7"/>
    <p:sldLayoutId id="2147483808" r:id="rId8"/>
    <p:sldLayoutId id="2147483809" r:id="rId9"/>
    <p:sldLayoutId id="2147483810" r:id="rId10"/>
    <p:sldLayoutId id="2147483811" r:id="rId11"/>
    <p:sldLayoutId id="2147483812" r:id="rId12"/>
    <p:sldLayoutId id="2147483813" r:id="rId13"/>
    <p:sldLayoutId id="2147483814" r:id="rId14"/>
    <p:sldLayoutId id="2147483815" r:id="rId15"/>
    <p:sldLayoutId id="2147483816" r:id="rId16"/>
    <p:sldLayoutId id="2147483817" r:id="rId1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38F371C-23FA-4717-A661-DE2636CB799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1699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3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AFC5771-09D5-4884-B321-BFD7AECF62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endParaRPr lang="en-US" sz="32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Rating of Russian distributors,</a:t>
            </a:r>
            <a:br>
              <a:rPr lang="en-US" dirty="0"/>
            </a:br>
            <a:r>
              <a:rPr lang="en-US" dirty="0"/>
              <a:t>1Q 2018</a:t>
            </a:r>
          </a:p>
        </p:txBody>
      </p:sp>
    </p:spTree>
    <p:extLst>
      <p:ext uri="{BB962C8B-B14F-4D97-AF65-F5344CB8AC3E}">
        <p14:creationId xmlns:p14="http://schemas.microsoft.com/office/powerpoint/2010/main" val="13758955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5870B97-C27C-446F-A70B-3FF8A94F59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014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F22556B-4274-4F7E-8296-DA063737D5F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4521915-5579-4302-8869-5621BAD790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/>
          <a:lstStyle/>
          <a:p>
            <a:pPr lvl="0"/>
            <a:r>
              <a:rPr lang="en-US" dirty="0"/>
              <a:t>TOP-10 distributors on the market of direct drugs</a:t>
            </a:r>
            <a:r>
              <a:rPr lang="en-US" dirty="0">
                <a:solidFill>
                  <a:srgbClr val="FF0000"/>
                </a:solidFill>
              </a:rPr>
              <a:t> </a:t>
            </a:r>
            <a:r>
              <a:rPr lang="en-US" dirty="0"/>
              <a:t>sales (including reimbursement drugs supply), 1Q 2018</a:t>
            </a:r>
          </a:p>
        </p:txBody>
      </p:sp>
      <p:graphicFrame>
        <p:nvGraphicFramePr>
          <p:cNvPr id="10" name="Content Placeholder 9">
            <a:extLst>
              <a:ext uri="{FF2B5EF4-FFF2-40B4-BE49-F238E27FC236}">
                <a16:creationId xmlns:a16="http://schemas.microsoft.com/office/drawing/2014/main" id="{EF9B0726-F6DB-4F57-A634-668B11E9A36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5724170"/>
              </p:ext>
            </p:extLst>
          </p:nvPr>
        </p:nvGraphicFramePr>
        <p:xfrm>
          <a:off x="384175" y="1285875"/>
          <a:ext cx="11339514" cy="4884420"/>
        </p:xfrm>
        <a:graphic>
          <a:graphicData uri="http://schemas.openxmlformats.org/drawingml/2006/table">
            <a:tbl>
              <a:tblPr firstRow="1" firstCol="1" lastRow="1" bandRow="1">
                <a:tableStyleId>{5C22544A-7EE6-4342-B048-85BDC9FD1C3A}</a:tableStyleId>
              </a:tblPr>
              <a:tblGrid>
                <a:gridCol w="815281">
                  <a:extLst>
                    <a:ext uri="{9D8B030D-6E8A-4147-A177-3AD203B41FA5}">
                      <a16:colId xmlns:a16="http://schemas.microsoft.com/office/drawing/2014/main" val="1488398742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595782216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212763417"/>
                    </a:ext>
                  </a:extLst>
                </a:gridCol>
                <a:gridCol w="1728192">
                  <a:extLst>
                    <a:ext uri="{9D8B030D-6E8A-4147-A177-3AD203B41FA5}">
                      <a16:colId xmlns:a16="http://schemas.microsoft.com/office/drawing/2014/main" val="1132509845"/>
                    </a:ext>
                  </a:extLst>
                </a:gridCol>
                <a:gridCol w="3233714">
                  <a:extLst>
                    <a:ext uri="{9D8B030D-6E8A-4147-A177-3AD203B41FA5}">
                      <a16:colId xmlns:a16="http://schemas.microsoft.com/office/drawing/2014/main" val="1047901436"/>
                    </a:ext>
                  </a:extLst>
                </a:gridCol>
                <a:gridCol w="1889919">
                  <a:extLst>
                    <a:ext uri="{9D8B030D-6E8A-4147-A177-3AD203B41FA5}">
                      <a16:colId xmlns:a16="http://schemas.microsoft.com/office/drawing/2014/main" val="3879789708"/>
                    </a:ext>
                  </a:extLst>
                </a:gridCol>
              </a:tblGrid>
              <a:tr h="370840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#</a:t>
                      </a:r>
                    </a:p>
                  </a:txBody>
                  <a:tcPr marL="7620" marR="7620" marT="7620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Distributor</a:t>
                      </a:r>
                    </a:p>
                  </a:txBody>
                  <a:tcPr marL="7620" marR="7620" marT="7620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Market share in direct sales of medication, %</a:t>
                      </a: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Change in direct sales of medication 1Q 2018/1Q 2017, %</a:t>
                      </a:r>
                    </a:p>
                  </a:txBody>
                  <a:tcPr marL="7620" marR="7620" marT="7620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he rank of gross sales, 1Q 2018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174985632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Q 2018</a:t>
                      </a:r>
                    </a:p>
                  </a:txBody>
                  <a:tcPr marL="7620" marR="7620" marT="7620" marB="0" anchor="ctr">
                    <a:solidFill>
                      <a:srgbClr val="00A3E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Q 2017</a:t>
                      </a:r>
                    </a:p>
                  </a:txBody>
                  <a:tcPr marL="7620" marR="7620" marT="7620" marB="0" anchor="ctr">
                    <a:solidFill>
                      <a:srgbClr val="00A3E0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40229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Katre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8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6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1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29539516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rote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8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9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9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37912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uls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7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5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495931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harmkomplek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,6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0527171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BS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,7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,1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,9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28462356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K Grand Kapit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,5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2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31893337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rofitm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,2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3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90639868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R-Phar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20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9287020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Avesta Pharmacevtik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99,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2129366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rvin 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4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,0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3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756227388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Total</a:t>
                      </a: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78,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70,3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0,8%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513713786"/>
                  </a:ext>
                </a:extLst>
              </a:tr>
            </a:tbl>
          </a:graphicData>
        </a:graphic>
      </p:graphicFrame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E9159689-EE9D-4B41-AF7D-EA65466FA7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35360" y="6393439"/>
            <a:ext cx="9116145" cy="338087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+mj-lt"/>
              </a:rPr>
              <a:t>Source: based on data from distributors participating in the rating</a:t>
            </a:r>
          </a:p>
        </p:txBody>
      </p:sp>
    </p:spTree>
    <p:extLst>
      <p:ext uri="{BB962C8B-B14F-4D97-AF65-F5344CB8AC3E}">
        <p14:creationId xmlns:p14="http://schemas.microsoft.com/office/powerpoint/2010/main" val="252506706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621A57-1402-40B3-BD89-992DD54134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8630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8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4E76C4A8-DDA5-4641-B2EF-6B01E9A041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E6FB2F7C-9588-476B-9771-ED33609B98C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2910434"/>
              </p:ext>
            </p:extLst>
          </p:nvPr>
        </p:nvGraphicFramePr>
        <p:xfrm>
          <a:off x="384175" y="1285875"/>
          <a:ext cx="11339514" cy="414274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15281">
                  <a:extLst>
                    <a:ext uri="{9D8B030D-6E8A-4147-A177-3AD203B41FA5}">
                      <a16:colId xmlns:a16="http://schemas.microsoft.com/office/drawing/2014/main" val="3924684719"/>
                    </a:ext>
                  </a:extLst>
                </a:gridCol>
                <a:gridCol w="2016224">
                  <a:extLst>
                    <a:ext uri="{9D8B030D-6E8A-4147-A177-3AD203B41FA5}">
                      <a16:colId xmlns:a16="http://schemas.microsoft.com/office/drawing/2014/main" val="2475847527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870549730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val="3103553007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val="66141179"/>
                    </a:ext>
                  </a:extLst>
                </a:gridCol>
                <a:gridCol w="2243313">
                  <a:extLst>
                    <a:ext uri="{9D8B030D-6E8A-4147-A177-3AD203B41FA5}">
                      <a16:colId xmlns:a16="http://schemas.microsoft.com/office/drawing/2014/main" val="32050187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#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Distributor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Distributor Typ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Head Offic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Relative retail sales volume, 1Q 20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Share of retail sales from the gross sales volume,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9558413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 err="1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Katren</a:t>
                      </a:r>
                      <a:endParaRPr lang="en-US" sz="1400" b="0" i="0" u="none" strike="noStrike" dirty="0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ovosibirs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0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93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4122787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rote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93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9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8800308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uls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Chimki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8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9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612657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 dirty="0" err="1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harmkomplekt</a:t>
                      </a:r>
                      <a:endParaRPr lang="en-US" sz="1400" b="0" i="0" u="none" strike="noStrike" dirty="0">
                        <a:solidFill>
                          <a:srgbClr val="305496"/>
                        </a:solidFill>
                        <a:effectLst/>
                        <a:latin typeface="+mn-lt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. Novgoro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23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78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679596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K Grand Kapit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21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9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068671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rofitm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er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15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6782606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BS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S.Petersbur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12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694570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Avesta Pharmacevtik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er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09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5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669891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Agroresource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er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ovosibirs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06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0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0761236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Zdravservic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er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Tula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04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73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137762584"/>
                  </a:ext>
                </a:extLst>
              </a:tr>
            </a:tbl>
          </a:graphicData>
        </a:graphic>
      </p:graphicFrame>
      <p:sp>
        <p:nvSpPr>
          <p:cNvPr id="13" name="Title 12">
            <a:extLst>
              <a:ext uri="{FF2B5EF4-FFF2-40B4-BE49-F238E27FC236}">
                <a16:creationId xmlns:a16="http://schemas.microsoft.com/office/drawing/2014/main" id="{F09B3984-14F8-4470-A096-A97C087D56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404664"/>
            <a:ext cx="11338560" cy="614252"/>
          </a:xfrm>
        </p:spPr>
        <p:txBody>
          <a:bodyPr/>
          <a:lstStyle/>
          <a:p>
            <a:r>
              <a:rPr lang="en-US" dirty="0"/>
              <a:t>TOP-10 distributors on the retail market,1Q 2018</a:t>
            </a:r>
            <a:endParaRPr lang="ru-RU" dirty="0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5FD10F2F-B416-4FB6-8C22-550B101647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35360" y="6381328"/>
            <a:ext cx="9116145" cy="338087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+mj-lt"/>
              </a:rPr>
              <a:t>Source: based on data from distributors participating in the rating</a:t>
            </a:r>
          </a:p>
        </p:txBody>
      </p:sp>
    </p:spTree>
    <p:extLst>
      <p:ext uri="{BB962C8B-B14F-4D97-AF65-F5344CB8AC3E}">
        <p14:creationId xmlns:p14="http://schemas.microsoft.com/office/powerpoint/2010/main" val="2977551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621A57-1402-40B3-BD89-992DD54134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6616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0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D621A57-1402-40B3-BD89-992DD54134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4E76C4A8-DDA5-4641-B2EF-6B01E9A041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E6FB2F7C-9588-476B-9771-ED33609B98C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06270467"/>
              </p:ext>
            </p:extLst>
          </p:nvPr>
        </p:nvGraphicFramePr>
        <p:xfrm>
          <a:off x="384175" y="1285875"/>
          <a:ext cx="11339514" cy="43561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15281">
                  <a:extLst>
                    <a:ext uri="{9D8B030D-6E8A-4147-A177-3AD203B41FA5}">
                      <a16:colId xmlns:a16="http://schemas.microsoft.com/office/drawing/2014/main" val="3924684719"/>
                    </a:ext>
                  </a:extLst>
                </a:gridCol>
                <a:gridCol w="2016224">
                  <a:extLst>
                    <a:ext uri="{9D8B030D-6E8A-4147-A177-3AD203B41FA5}">
                      <a16:colId xmlns:a16="http://schemas.microsoft.com/office/drawing/2014/main" val="2475847527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870549730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val="3103553007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val="66141179"/>
                    </a:ext>
                  </a:extLst>
                </a:gridCol>
                <a:gridCol w="2243313">
                  <a:extLst>
                    <a:ext uri="{9D8B030D-6E8A-4147-A177-3AD203B41FA5}">
                      <a16:colId xmlns:a16="http://schemas.microsoft.com/office/drawing/2014/main" val="32050187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#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Distributor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Distributor Typ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Head Offic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Relative volume of budget sales, 1Q 20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Share of budget sales from the gross sales volume, 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9558413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harmstandard *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0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4122787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R-Phar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er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84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7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8800308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armimex *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69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612657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BS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S.Petersbur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64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39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679596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BIOTEC *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44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068671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rote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38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6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6782606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rvin 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36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694570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Euroservic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er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33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63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669891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Lance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er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26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1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0761236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harmstor *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15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-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137762584"/>
                  </a:ext>
                </a:extLst>
              </a:tr>
            </a:tbl>
          </a:graphicData>
        </a:graphic>
      </p:graphicFrame>
      <p:sp>
        <p:nvSpPr>
          <p:cNvPr id="13" name="Title 12">
            <a:extLst>
              <a:ext uri="{FF2B5EF4-FFF2-40B4-BE49-F238E27FC236}">
                <a16:creationId xmlns:a16="http://schemas.microsoft.com/office/drawing/2014/main" id="{F09B3984-14F8-4470-A096-A97C087D56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404664"/>
            <a:ext cx="11338560" cy="614252"/>
          </a:xfrm>
        </p:spPr>
        <p:txBody>
          <a:bodyPr/>
          <a:lstStyle/>
          <a:p>
            <a:r>
              <a:rPr lang="en-US" dirty="0"/>
              <a:t>TOP-10 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</a:rPr>
              <a:t>distributors on the budget market,1Q 2018</a:t>
            </a:r>
            <a:endParaRPr lang="ru-RU" dirty="0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5FD10F2F-B416-4FB6-8C22-550B101647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50413" y="6381328"/>
            <a:ext cx="9116145" cy="338087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+mj-lt"/>
              </a:rPr>
              <a:t>Data based on analysis of IQVIA tender base</a:t>
            </a:r>
          </a:p>
          <a:p>
            <a:r>
              <a:rPr lang="en-US" dirty="0">
                <a:latin typeface="+mj-lt"/>
              </a:rPr>
              <a:t>Source: based on data from distributors participating in the rating</a:t>
            </a:r>
          </a:p>
        </p:txBody>
      </p:sp>
    </p:spTree>
    <p:extLst>
      <p:ext uri="{BB962C8B-B14F-4D97-AF65-F5344CB8AC3E}">
        <p14:creationId xmlns:p14="http://schemas.microsoft.com/office/powerpoint/2010/main" val="31163830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D621A57-1402-40B3-BD89-992DD54134C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5751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4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D621A57-1402-40B3-BD89-992DD54134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 hidden="1">
            <a:extLst>
              <a:ext uri="{FF2B5EF4-FFF2-40B4-BE49-F238E27FC236}">
                <a16:creationId xmlns:a16="http://schemas.microsoft.com/office/drawing/2014/main" id="{4E76C4A8-DDA5-4641-B2EF-6B01E9A041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800" b="1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aphicFrame>
        <p:nvGraphicFramePr>
          <p:cNvPr id="14" name="Content Placeholder 13">
            <a:extLst>
              <a:ext uri="{FF2B5EF4-FFF2-40B4-BE49-F238E27FC236}">
                <a16:creationId xmlns:a16="http://schemas.microsoft.com/office/drawing/2014/main" id="{E6FB2F7C-9588-476B-9771-ED33609B98C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57788966"/>
              </p:ext>
            </p:extLst>
          </p:nvPr>
        </p:nvGraphicFramePr>
        <p:xfrm>
          <a:off x="384175" y="1285875"/>
          <a:ext cx="11339514" cy="43561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15281">
                  <a:extLst>
                    <a:ext uri="{9D8B030D-6E8A-4147-A177-3AD203B41FA5}">
                      <a16:colId xmlns:a16="http://schemas.microsoft.com/office/drawing/2014/main" val="3924684719"/>
                    </a:ext>
                  </a:extLst>
                </a:gridCol>
                <a:gridCol w="2016224">
                  <a:extLst>
                    <a:ext uri="{9D8B030D-6E8A-4147-A177-3AD203B41FA5}">
                      <a16:colId xmlns:a16="http://schemas.microsoft.com/office/drawing/2014/main" val="2475847527"/>
                    </a:ext>
                  </a:extLst>
                </a:gridCol>
                <a:gridCol w="1944216">
                  <a:extLst>
                    <a:ext uri="{9D8B030D-6E8A-4147-A177-3AD203B41FA5}">
                      <a16:colId xmlns:a16="http://schemas.microsoft.com/office/drawing/2014/main" val="2870549730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val="3103553007"/>
                    </a:ext>
                  </a:extLst>
                </a:gridCol>
                <a:gridCol w="2160240">
                  <a:extLst>
                    <a:ext uri="{9D8B030D-6E8A-4147-A177-3AD203B41FA5}">
                      <a16:colId xmlns:a16="http://schemas.microsoft.com/office/drawing/2014/main" val="66141179"/>
                    </a:ext>
                  </a:extLst>
                </a:gridCol>
                <a:gridCol w="2243313">
                  <a:extLst>
                    <a:ext uri="{9D8B030D-6E8A-4147-A177-3AD203B41FA5}">
                      <a16:colId xmlns:a16="http://schemas.microsoft.com/office/drawing/2014/main" val="320501876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#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Distributor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Distributor Typ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Head Offic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Relative volume of secondary distribution, 1Q 20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Share of secondary distribution sales from the gross sales volume, 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95584137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Katren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ovosibirs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,00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6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4122787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harmkomplek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.Novgoro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96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88003084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Lancet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er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89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5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6126571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4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rotek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71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6795963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5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uls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Chimki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56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06867185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6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R-Pharm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er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481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8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6782606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BSS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S.Petersburg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397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6945707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Profitmed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er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343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1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669891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9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FK Grand Kapit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Nat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322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8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0761236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0" u="none" strike="noStrike">
                          <a:solidFill>
                            <a:srgbClr val="FFFFFF"/>
                          </a:solidFill>
                          <a:effectLst/>
                          <a:latin typeface="+mn-lt"/>
                        </a:rPr>
                        <a:t>10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Euroservice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Interregional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Moscow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0,318</a:t>
                      </a: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>
                          <a:solidFill>
                            <a:srgbClr val="305496"/>
                          </a:solidFill>
                          <a:effectLst/>
                          <a:latin typeface="+mn-lt"/>
                        </a:rPr>
                        <a:t>26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137762584"/>
                  </a:ext>
                </a:extLst>
              </a:tr>
            </a:tbl>
          </a:graphicData>
        </a:graphic>
      </p:graphicFrame>
      <p:sp>
        <p:nvSpPr>
          <p:cNvPr id="13" name="Title 12">
            <a:extLst>
              <a:ext uri="{FF2B5EF4-FFF2-40B4-BE49-F238E27FC236}">
                <a16:creationId xmlns:a16="http://schemas.microsoft.com/office/drawing/2014/main" id="{F09B3984-14F8-4470-A096-A97C087D56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404664"/>
            <a:ext cx="11338560" cy="614252"/>
          </a:xfrm>
        </p:spPr>
        <p:txBody>
          <a:bodyPr/>
          <a:lstStyle/>
          <a:p>
            <a:r>
              <a:rPr lang="en-US" dirty="0"/>
              <a:t>TOP-10 distributors on the market of secondary sales,1Q 2018</a:t>
            </a:r>
            <a:endParaRPr lang="ru-RU" dirty="0"/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5FD10F2F-B416-4FB6-8C22-550B101647A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35360" y="6284292"/>
            <a:ext cx="9116145" cy="338087"/>
          </a:xfrm>
          <a:prstGeom prst="rect">
            <a:avLst/>
          </a:prstGeom>
        </p:spPr>
        <p:txBody>
          <a:bodyPr/>
          <a:lstStyle/>
          <a:p>
            <a:r>
              <a:rPr lang="en-US" dirty="0">
                <a:latin typeface="+mj-lt"/>
              </a:rPr>
              <a:t>Source: based on data from distributors participating in the rating</a:t>
            </a:r>
          </a:p>
        </p:txBody>
      </p:sp>
    </p:spTree>
    <p:extLst>
      <p:ext uri="{BB962C8B-B14F-4D97-AF65-F5344CB8AC3E}">
        <p14:creationId xmlns:p14="http://schemas.microsoft.com/office/powerpoint/2010/main" val="21063502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4&quot;/&gt;&lt;CPresentation id=&quot;1&quot;&gt;&lt;m_precDefaultNumber&gt;&lt;m_bNumberIsYear val=&quot;1&quot;/&gt;&lt;m_chMinusSymbol&gt;-&lt;/m_chMinusSymbol&gt;&lt;m_chDecimalSymbol17909&gt;,&lt;/m_chDecimalSymbol17909&gt;&lt;m_nGroupingDigits17909 val=&quot;2147483647&quot;/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R9zS.eSeuIzb9wMAx5r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R9zS.eSeuIzb9wMAx5r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R9zS.eSeuIzb9wMAx5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QIR4iqMTr6VATIQoImOm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kg2djDTyO1vvJ3qMFGo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Template_WS_25Oct2017">
  <a:themeElements>
    <a:clrScheme name="IQVIA">
      <a:dk1>
        <a:srgbClr val="2B3A42"/>
      </a:dk1>
      <a:lt1>
        <a:sysClr val="window" lastClr="FFFFFF"/>
      </a:lt1>
      <a:dk2>
        <a:srgbClr val="3F5765"/>
      </a:dk2>
      <a:lt2>
        <a:srgbClr val="FFD100"/>
      </a:lt2>
      <a:accent1>
        <a:srgbClr val="00A3E0"/>
      </a:accent1>
      <a:accent2>
        <a:srgbClr val="005587"/>
      </a:accent2>
      <a:accent3>
        <a:srgbClr val="FE8A12"/>
      </a:accent3>
      <a:accent4>
        <a:srgbClr val="43B02A"/>
      </a:accent4>
      <a:accent5>
        <a:srgbClr val="027223"/>
      </a:accent5>
      <a:accent6>
        <a:srgbClr val="00C7B1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D6D3AE25-09A6-4163-973B-96A995BA644F}" vid="{0A71FDC3-78E5-48C9-AB64-F2576A809529}"/>
    </a:ext>
  </a:extLst>
</a:theme>
</file>

<file path=ppt/theme/theme2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IQVIA">
      <a:dk1>
        <a:srgbClr val="2B3A42"/>
      </a:dk1>
      <a:lt1>
        <a:sysClr val="window" lastClr="FFFFFF"/>
      </a:lt1>
      <a:dk2>
        <a:srgbClr val="005587"/>
      </a:dk2>
      <a:lt2>
        <a:srgbClr val="00A3E0"/>
      </a:lt2>
      <a:accent1>
        <a:srgbClr val="FE8A12"/>
      </a:accent1>
      <a:accent2>
        <a:srgbClr val="43B02A"/>
      </a:accent2>
      <a:accent3>
        <a:srgbClr val="027223"/>
      </a:accent3>
      <a:accent4>
        <a:srgbClr val="00C7B1"/>
      </a:accent4>
      <a:accent5>
        <a:srgbClr val="FFD100"/>
      </a:accent5>
      <a:accent6>
        <a:srgbClr val="3F5765"/>
      </a:accent6>
      <a:hlink>
        <a:srgbClr val="2B3A42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85</TotalTime>
  <Words>540</Words>
  <Application>Microsoft Office PowerPoint</Application>
  <PresentationFormat>Widescreen</PresentationFormat>
  <Paragraphs>280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Arial Narrow</vt:lpstr>
      <vt:lpstr>Georgia</vt:lpstr>
      <vt:lpstr>Wingdings</vt:lpstr>
      <vt:lpstr>IQVIATemplate_WS_25Oct2017</vt:lpstr>
      <vt:lpstr>think-cell Slide</vt:lpstr>
      <vt:lpstr>Rating of Russian distributors, 1Q 2018</vt:lpstr>
      <vt:lpstr>TOP-10 distributors on the market of direct drugs sales (including reimbursement drugs supply), 1Q 2018</vt:lpstr>
      <vt:lpstr>TOP-10 distributors on the retail market,1Q 2018</vt:lpstr>
      <vt:lpstr>TOP-10 distributors on the budget market,1Q 2018</vt:lpstr>
      <vt:lpstr>TOP-10 distributors on the market of secondary sales,1Q 2018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olina Sudeykina EX1</dc:creator>
  <cp:lastModifiedBy>Guschina, Ekaterina EX1</cp:lastModifiedBy>
  <cp:revision>85</cp:revision>
  <cp:lastPrinted>2017-10-20T15:11:52Z</cp:lastPrinted>
  <dcterms:created xsi:type="dcterms:W3CDTF">2017-11-13T11:28:02Z</dcterms:created>
  <dcterms:modified xsi:type="dcterms:W3CDTF">2018-12-25T09:13:20Z</dcterms:modified>
</cp:coreProperties>
</file>